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4"/>
    <p:sldMasterId id="2147483705" r:id="rId5"/>
    <p:sldMasterId id="2147483726" r:id="rId6"/>
  </p:sldMasterIdLst>
  <p:notesMasterIdLst>
    <p:notesMasterId r:id="rId30"/>
  </p:notesMasterIdLst>
  <p:handoutMasterIdLst>
    <p:handoutMasterId r:id="rId31"/>
  </p:handoutMasterIdLst>
  <p:sldIdLst>
    <p:sldId id="305" r:id="rId7"/>
    <p:sldId id="306" r:id="rId8"/>
    <p:sldId id="329" r:id="rId9"/>
    <p:sldId id="307" r:id="rId10"/>
    <p:sldId id="335" r:id="rId11"/>
    <p:sldId id="345" r:id="rId12"/>
    <p:sldId id="346" r:id="rId13"/>
    <p:sldId id="495" r:id="rId14"/>
    <p:sldId id="340" r:id="rId15"/>
    <p:sldId id="343" r:id="rId16"/>
    <p:sldId id="344" r:id="rId17"/>
    <p:sldId id="342" r:id="rId18"/>
    <p:sldId id="341" r:id="rId19"/>
    <p:sldId id="330" r:id="rId20"/>
    <p:sldId id="496" r:id="rId21"/>
    <p:sldId id="497" r:id="rId22"/>
    <p:sldId id="498" r:id="rId23"/>
    <p:sldId id="499" r:id="rId24"/>
    <p:sldId id="493" r:id="rId25"/>
    <p:sldId id="336" r:id="rId26"/>
    <p:sldId id="309" r:id="rId27"/>
    <p:sldId id="339" r:id="rId28"/>
    <p:sldId id="328" r:id="rId29"/>
  </p:sldIdLst>
  <p:sldSz cx="9144000" cy="5143500" type="screen16x9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8">
          <p15:clr>
            <a:srgbClr val="A4A3A4"/>
          </p15:clr>
        </p15:guide>
        <p15:guide id="2" pos="550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BD1E20"/>
    <a:srgbClr val="DF4133"/>
    <a:srgbClr val="E73139"/>
    <a:srgbClr val="D22D32"/>
    <a:srgbClr val="7F7F7F"/>
    <a:srgbClr val="AF0819"/>
    <a:srgbClr val="BD0D22"/>
    <a:srgbClr val="89898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AAF4E1-2CFC-4A43-8EC2-235E217E6CB4}" v="22" dt="2020-04-20T04:22:08.1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828"/>
        <p:guide pos="550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wok, Jeffrey" userId="fbec0761-eb99-44b1-8af3-ab907abe7c2d" providerId="ADAL" clId="{35222B5B-8A07-475F-9954-F73F424147CD}"/>
    <pc:docChg chg="undo custSel addSld delSld modSld">
      <pc:chgData name="Kwok, Jeffrey" userId="fbec0761-eb99-44b1-8af3-ab907abe7c2d" providerId="ADAL" clId="{35222B5B-8A07-475F-9954-F73F424147CD}" dt="2020-04-17T07:35:28.754" v="309" actId="20577"/>
      <pc:docMkLst>
        <pc:docMk/>
      </pc:docMkLst>
      <pc:sldChg chg="modSp">
        <pc:chgData name="Kwok, Jeffrey" userId="fbec0761-eb99-44b1-8af3-ab907abe7c2d" providerId="ADAL" clId="{35222B5B-8A07-475F-9954-F73F424147CD}" dt="2020-04-08T07:20:04.824" v="9" actId="1076"/>
        <pc:sldMkLst>
          <pc:docMk/>
          <pc:sldMk cId="2596422118" sldId="309"/>
        </pc:sldMkLst>
        <pc:picChg chg="mod">
          <ac:chgData name="Kwok, Jeffrey" userId="fbec0761-eb99-44b1-8af3-ab907abe7c2d" providerId="ADAL" clId="{35222B5B-8A07-475F-9954-F73F424147CD}" dt="2020-04-08T07:20:04.824" v="9" actId="1076"/>
          <ac:picMkLst>
            <pc:docMk/>
            <pc:sldMk cId="2596422118" sldId="309"/>
            <ac:picMk id="1030" creationId="{A50C8D93-9BF5-4EE9-8AD3-99672CEED530}"/>
          </ac:picMkLst>
        </pc:picChg>
      </pc:sldChg>
      <pc:sldChg chg="modSp">
        <pc:chgData name="Kwok, Jeffrey" userId="fbec0761-eb99-44b1-8af3-ab907abe7c2d" providerId="ADAL" clId="{35222B5B-8A07-475F-9954-F73F424147CD}" dt="2020-04-07T09:05:06.110" v="0"/>
        <pc:sldMkLst>
          <pc:docMk/>
          <pc:sldMk cId="3698415612" sldId="335"/>
        </pc:sldMkLst>
        <pc:graphicFrameChg chg="mod">
          <ac:chgData name="Kwok, Jeffrey" userId="fbec0761-eb99-44b1-8af3-ab907abe7c2d" providerId="ADAL" clId="{35222B5B-8A07-475F-9954-F73F424147CD}" dt="2020-04-07T09:05:06.110" v="0"/>
          <ac:graphicFrameMkLst>
            <pc:docMk/>
            <pc:sldMk cId="3698415612" sldId="335"/>
            <ac:graphicFrameMk id="10" creationId="{C25FA767-4AA1-47DA-BBEF-8E879F4B993C}"/>
          </ac:graphicFrameMkLst>
        </pc:graphicFrameChg>
      </pc:sldChg>
      <pc:sldChg chg="del">
        <pc:chgData name="Kwok, Jeffrey" userId="fbec0761-eb99-44b1-8af3-ab907abe7c2d" providerId="ADAL" clId="{35222B5B-8A07-475F-9954-F73F424147CD}" dt="2020-04-17T07:26:41.298" v="76" actId="2696"/>
        <pc:sldMkLst>
          <pc:docMk/>
          <pc:sldMk cId="820448716" sldId="337"/>
        </pc:sldMkLst>
      </pc:sldChg>
      <pc:sldChg chg="addSp delSp modSp">
        <pc:chgData name="Kwok, Jeffrey" userId="fbec0761-eb99-44b1-8af3-ab907abe7c2d" providerId="ADAL" clId="{35222B5B-8A07-475F-9954-F73F424147CD}" dt="2020-04-17T07:35:28.754" v="309" actId="20577"/>
        <pc:sldMkLst>
          <pc:docMk/>
          <pc:sldMk cId="562718761" sldId="339"/>
        </pc:sldMkLst>
        <pc:spChg chg="del">
          <ac:chgData name="Kwok, Jeffrey" userId="fbec0761-eb99-44b1-8af3-ab907abe7c2d" providerId="ADAL" clId="{35222B5B-8A07-475F-9954-F73F424147CD}" dt="2020-04-17T07:32:04.452" v="166" actId="478"/>
          <ac:spMkLst>
            <pc:docMk/>
            <pc:sldMk cId="562718761" sldId="339"/>
            <ac:spMk id="5" creationId="{2BAE2282-F5FB-4EB1-8CA7-1C1E796E1678}"/>
          </ac:spMkLst>
        </pc:spChg>
        <pc:spChg chg="del">
          <ac:chgData name="Kwok, Jeffrey" userId="fbec0761-eb99-44b1-8af3-ab907abe7c2d" providerId="ADAL" clId="{35222B5B-8A07-475F-9954-F73F424147CD}" dt="2020-04-17T07:32:09.840" v="167" actId="478"/>
          <ac:spMkLst>
            <pc:docMk/>
            <pc:sldMk cId="562718761" sldId="339"/>
            <ac:spMk id="7" creationId="{5D32D206-FA95-41EA-9B61-C5E44E3CF3CC}"/>
          </ac:spMkLst>
        </pc:spChg>
        <pc:spChg chg="add mod">
          <ac:chgData name="Kwok, Jeffrey" userId="fbec0761-eb99-44b1-8af3-ab907abe7c2d" providerId="ADAL" clId="{35222B5B-8A07-475F-9954-F73F424147CD}" dt="2020-04-17T07:35:28.754" v="309" actId="20577"/>
          <ac:spMkLst>
            <pc:docMk/>
            <pc:sldMk cId="562718761" sldId="339"/>
            <ac:spMk id="10" creationId="{FC71663F-75AC-41F2-812E-689C361CAD5C}"/>
          </ac:spMkLst>
        </pc:spChg>
        <pc:picChg chg="mod">
          <ac:chgData name="Kwok, Jeffrey" userId="fbec0761-eb99-44b1-8af3-ab907abe7c2d" providerId="ADAL" clId="{35222B5B-8A07-475F-9954-F73F424147CD}" dt="2020-04-17T07:32:15.908" v="168" actId="1076"/>
          <ac:picMkLst>
            <pc:docMk/>
            <pc:sldMk cId="562718761" sldId="339"/>
            <ac:picMk id="9" creationId="{74D9B133-CBCB-4BA3-9CA7-16196EF4CA11}"/>
          </ac:picMkLst>
        </pc:picChg>
      </pc:sldChg>
      <pc:sldChg chg="modSp">
        <pc:chgData name="Kwok, Jeffrey" userId="fbec0761-eb99-44b1-8af3-ab907abe7c2d" providerId="ADAL" clId="{35222B5B-8A07-475F-9954-F73F424147CD}" dt="2020-04-08T07:17:52.665" v="7" actId="14734"/>
        <pc:sldMkLst>
          <pc:docMk/>
          <pc:sldMk cId="3140035573" sldId="341"/>
        </pc:sldMkLst>
        <pc:graphicFrameChg chg="mod modGraphic">
          <ac:chgData name="Kwok, Jeffrey" userId="fbec0761-eb99-44b1-8af3-ab907abe7c2d" providerId="ADAL" clId="{35222B5B-8A07-475F-9954-F73F424147CD}" dt="2020-04-08T07:17:52.665" v="7" actId="14734"/>
          <ac:graphicFrameMkLst>
            <pc:docMk/>
            <pc:sldMk cId="3140035573" sldId="341"/>
            <ac:graphicFrameMk id="13" creationId="{BFBA255B-C1ED-4F7B-9365-36F06AF7D0EA}"/>
          </ac:graphicFrameMkLst>
        </pc:graphicFrameChg>
      </pc:sldChg>
      <pc:sldChg chg="del">
        <pc:chgData name="Kwok, Jeffrey" userId="fbec0761-eb99-44b1-8af3-ab907abe7c2d" providerId="ADAL" clId="{35222B5B-8A07-475F-9954-F73F424147CD}" dt="2020-04-17T07:27:25.222" v="104" actId="2696"/>
        <pc:sldMkLst>
          <pc:docMk/>
          <pc:sldMk cId="1640168720" sldId="371"/>
        </pc:sldMkLst>
      </pc:sldChg>
      <pc:sldChg chg="del">
        <pc:chgData name="Kwok, Jeffrey" userId="fbec0761-eb99-44b1-8af3-ab907abe7c2d" providerId="ADAL" clId="{35222B5B-8A07-475F-9954-F73F424147CD}" dt="2020-04-17T07:30:26.895" v="164" actId="2696"/>
        <pc:sldMkLst>
          <pc:docMk/>
          <pc:sldMk cId="431339268" sldId="389"/>
        </pc:sldMkLst>
      </pc:sldChg>
      <pc:sldChg chg="modSp del">
        <pc:chgData name="Kwok, Jeffrey" userId="fbec0761-eb99-44b1-8af3-ab907abe7c2d" providerId="ADAL" clId="{35222B5B-8A07-475F-9954-F73F424147CD}" dt="2020-04-17T07:26:31.037" v="75" actId="2696"/>
        <pc:sldMkLst>
          <pc:docMk/>
          <pc:sldMk cId="2650474701" sldId="395"/>
        </pc:sldMkLst>
        <pc:picChg chg="mod">
          <ac:chgData name="Kwok, Jeffrey" userId="fbec0761-eb99-44b1-8af3-ab907abe7c2d" providerId="ADAL" clId="{35222B5B-8A07-475F-9954-F73F424147CD}" dt="2020-04-17T07:26:14.397" v="70" actId="1076"/>
          <ac:picMkLst>
            <pc:docMk/>
            <pc:sldMk cId="2650474701" sldId="395"/>
            <ac:picMk id="8" creationId="{B2C2BABA-265D-4CC9-AF92-420CAEC4A441}"/>
          </ac:picMkLst>
        </pc:picChg>
      </pc:sldChg>
      <pc:sldChg chg="addSp delSp modSp add">
        <pc:chgData name="Kwok, Jeffrey" userId="fbec0761-eb99-44b1-8af3-ab907abe7c2d" providerId="ADAL" clId="{35222B5B-8A07-475F-9954-F73F424147CD}" dt="2020-04-17T07:25:15.431" v="64" actId="20577"/>
        <pc:sldMkLst>
          <pc:docMk/>
          <pc:sldMk cId="782329933" sldId="496"/>
        </pc:sldMkLst>
        <pc:spChg chg="del">
          <ac:chgData name="Kwok, Jeffrey" userId="fbec0761-eb99-44b1-8af3-ab907abe7c2d" providerId="ADAL" clId="{35222B5B-8A07-475F-9954-F73F424147CD}" dt="2020-04-17T07:23:31.226" v="11"/>
          <ac:spMkLst>
            <pc:docMk/>
            <pc:sldMk cId="782329933" sldId="496"/>
            <ac:spMk id="5" creationId="{EF903BC9-9090-4DA0-86B6-A89981856F83}"/>
          </ac:spMkLst>
        </pc:spChg>
        <pc:spChg chg="del">
          <ac:chgData name="Kwok, Jeffrey" userId="fbec0761-eb99-44b1-8af3-ab907abe7c2d" providerId="ADAL" clId="{35222B5B-8A07-475F-9954-F73F424147CD}" dt="2020-04-17T07:23:31.226" v="11"/>
          <ac:spMkLst>
            <pc:docMk/>
            <pc:sldMk cId="782329933" sldId="496"/>
            <ac:spMk id="6" creationId="{9F6C0ACC-B414-4BC2-AFB8-71B0B0FED2C6}"/>
          </ac:spMkLst>
        </pc:spChg>
        <pc:spChg chg="del">
          <ac:chgData name="Kwok, Jeffrey" userId="fbec0761-eb99-44b1-8af3-ab907abe7c2d" providerId="ADAL" clId="{35222B5B-8A07-475F-9954-F73F424147CD}" dt="2020-04-17T07:23:31.226" v="11"/>
          <ac:spMkLst>
            <pc:docMk/>
            <pc:sldMk cId="782329933" sldId="496"/>
            <ac:spMk id="7" creationId="{75E67499-290D-4E2F-B403-18E5F5E8F448}"/>
          </ac:spMkLst>
        </pc:spChg>
        <pc:spChg chg="add mod">
          <ac:chgData name="Kwok, Jeffrey" userId="fbec0761-eb99-44b1-8af3-ab907abe7c2d" providerId="ADAL" clId="{35222B5B-8A07-475F-9954-F73F424147CD}" dt="2020-04-17T07:23:35.734" v="23" actId="20577"/>
          <ac:spMkLst>
            <pc:docMk/>
            <pc:sldMk cId="782329933" sldId="496"/>
            <ac:spMk id="8" creationId="{1B13D9FC-F671-4518-AA8E-6AE264761728}"/>
          </ac:spMkLst>
        </pc:spChg>
        <pc:spChg chg="add mod">
          <ac:chgData name="Kwok, Jeffrey" userId="fbec0761-eb99-44b1-8af3-ab907abe7c2d" providerId="ADAL" clId="{35222B5B-8A07-475F-9954-F73F424147CD}" dt="2020-04-17T07:25:15.431" v="64" actId="20577"/>
          <ac:spMkLst>
            <pc:docMk/>
            <pc:sldMk cId="782329933" sldId="496"/>
            <ac:spMk id="9" creationId="{821C9323-A255-4CEB-995D-85A32DA66653}"/>
          </ac:spMkLst>
        </pc:spChg>
        <pc:spChg chg="add mod">
          <ac:chgData name="Kwok, Jeffrey" userId="fbec0761-eb99-44b1-8af3-ab907abe7c2d" providerId="ADAL" clId="{35222B5B-8A07-475F-9954-F73F424147CD}" dt="2020-04-17T07:23:31.338" v="12" actId="27636"/>
          <ac:spMkLst>
            <pc:docMk/>
            <pc:sldMk cId="782329933" sldId="496"/>
            <ac:spMk id="10" creationId="{D2380AD5-DE0E-4D2F-B4AC-73C53B94B69D}"/>
          </ac:spMkLst>
        </pc:spChg>
        <pc:spChg chg="add del mod">
          <ac:chgData name="Kwok, Jeffrey" userId="fbec0761-eb99-44b1-8af3-ab907abe7c2d" providerId="ADAL" clId="{35222B5B-8A07-475F-9954-F73F424147CD}" dt="2020-04-17T07:24:24.506" v="51" actId="478"/>
          <ac:spMkLst>
            <pc:docMk/>
            <pc:sldMk cId="782329933" sldId="496"/>
            <ac:spMk id="11" creationId="{20299976-FB9F-4E03-97C1-27190E0F1F19}"/>
          </ac:spMkLst>
        </pc:spChg>
        <pc:spChg chg="add mod">
          <ac:chgData name="Kwok, Jeffrey" userId="fbec0761-eb99-44b1-8af3-ab907abe7c2d" providerId="ADAL" clId="{35222B5B-8A07-475F-9954-F73F424147CD}" dt="2020-04-17T07:25:03.879" v="62" actId="14100"/>
          <ac:spMkLst>
            <pc:docMk/>
            <pc:sldMk cId="782329933" sldId="496"/>
            <ac:spMk id="16" creationId="{52DEB2BD-4214-40AF-A135-D824B8C6FD95}"/>
          </ac:spMkLst>
        </pc:spChg>
        <pc:grpChg chg="add mod">
          <ac:chgData name="Kwok, Jeffrey" userId="fbec0761-eb99-44b1-8af3-ab907abe7c2d" providerId="ADAL" clId="{35222B5B-8A07-475F-9954-F73F424147CD}" dt="2020-04-17T07:25:05.843" v="63" actId="1076"/>
          <ac:grpSpMkLst>
            <pc:docMk/>
            <pc:sldMk cId="782329933" sldId="496"/>
            <ac:grpSpMk id="12" creationId="{FED22621-2984-49C7-9D98-E33BB38E4202}"/>
          </ac:grpSpMkLst>
        </pc:grpChg>
      </pc:sldChg>
      <pc:sldChg chg="addSp delSp modSp add">
        <pc:chgData name="Kwok, Jeffrey" userId="fbec0761-eb99-44b1-8af3-ab907abe7c2d" providerId="ADAL" clId="{35222B5B-8A07-475F-9954-F73F424147CD}" dt="2020-04-17T07:26:28.655" v="74" actId="167"/>
        <pc:sldMkLst>
          <pc:docMk/>
          <pc:sldMk cId="2545459670" sldId="497"/>
        </pc:sldMkLst>
        <pc:spChg chg="mod">
          <ac:chgData name="Kwok, Jeffrey" userId="fbec0761-eb99-44b1-8af3-ab907abe7c2d" providerId="ADAL" clId="{35222B5B-8A07-475F-9954-F73F424147CD}" dt="2020-04-17T07:25:57.448" v="67"/>
          <ac:spMkLst>
            <pc:docMk/>
            <pc:sldMk cId="2545459670" sldId="497"/>
            <ac:spMk id="5" creationId="{136241D6-4015-4679-B8EB-CD94F9B341B0}"/>
          </ac:spMkLst>
        </pc:spChg>
        <pc:spChg chg="mod">
          <ac:chgData name="Kwok, Jeffrey" userId="fbec0761-eb99-44b1-8af3-ab907abe7c2d" providerId="ADAL" clId="{35222B5B-8A07-475F-9954-F73F424147CD}" dt="2020-04-17T07:26:03.059" v="68"/>
          <ac:spMkLst>
            <pc:docMk/>
            <pc:sldMk cId="2545459670" sldId="497"/>
            <ac:spMk id="6" creationId="{96BD17D1-C78D-4202-81A8-5E0CC6B5B6E2}"/>
          </ac:spMkLst>
        </pc:spChg>
        <pc:spChg chg="mod">
          <ac:chgData name="Kwok, Jeffrey" userId="fbec0761-eb99-44b1-8af3-ab907abe7c2d" providerId="ADAL" clId="{35222B5B-8A07-475F-9954-F73F424147CD}" dt="2020-04-17T07:25:50.956" v="66" actId="27636"/>
          <ac:spMkLst>
            <pc:docMk/>
            <pc:sldMk cId="2545459670" sldId="497"/>
            <ac:spMk id="7" creationId="{1C7FE20A-E992-4FDE-B84A-5874EA57F411}"/>
          </ac:spMkLst>
        </pc:spChg>
        <pc:spChg chg="del">
          <ac:chgData name="Kwok, Jeffrey" userId="fbec0761-eb99-44b1-8af3-ab907abe7c2d" providerId="ADAL" clId="{35222B5B-8A07-475F-9954-F73F424147CD}" dt="2020-04-17T07:26:21.832" v="72" actId="478"/>
          <ac:spMkLst>
            <pc:docMk/>
            <pc:sldMk cId="2545459670" sldId="497"/>
            <ac:spMk id="8" creationId="{6BDEE887-9C6C-48BB-B1A0-CD95AB67CCE0}"/>
          </ac:spMkLst>
        </pc:spChg>
        <pc:spChg chg="add">
          <ac:chgData name="Kwok, Jeffrey" userId="fbec0761-eb99-44b1-8af3-ab907abe7c2d" providerId="ADAL" clId="{35222B5B-8A07-475F-9954-F73F424147CD}" dt="2020-04-17T07:26:19.035" v="71"/>
          <ac:spMkLst>
            <pc:docMk/>
            <pc:sldMk cId="2545459670" sldId="497"/>
            <ac:spMk id="9" creationId="{41D09A96-5940-45EA-8040-9699FF7FE6D0}"/>
          </ac:spMkLst>
        </pc:spChg>
        <pc:spChg chg="add">
          <ac:chgData name="Kwok, Jeffrey" userId="fbec0761-eb99-44b1-8af3-ab907abe7c2d" providerId="ADAL" clId="{35222B5B-8A07-475F-9954-F73F424147CD}" dt="2020-04-17T07:26:19.035" v="71"/>
          <ac:spMkLst>
            <pc:docMk/>
            <pc:sldMk cId="2545459670" sldId="497"/>
            <ac:spMk id="10" creationId="{3536125D-257E-4795-8BF0-2723E689A6D2}"/>
          </ac:spMkLst>
        </pc:spChg>
        <pc:spChg chg="add">
          <ac:chgData name="Kwok, Jeffrey" userId="fbec0761-eb99-44b1-8af3-ab907abe7c2d" providerId="ADAL" clId="{35222B5B-8A07-475F-9954-F73F424147CD}" dt="2020-04-17T07:26:19.035" v="71"/>
          <ac:spMkLst>
            <pc:docMk/>
            <pc:sldMk cId="2545459670" sldId="497"/>
            <ac:spMk id="11" creationId="{5916E64F-5C5E-4C9A-8251-8E087615DD09}"/>
          </ac:spMkLst>
        </pc:spChg>
        <pc:spChg chg="add">
          <ac:chgData name="Kwok, Jeffrey" userId="fbec0761-eb99-44b1-8af3-ab907abe7c2d" providerId="ADAL" clId="{35222B5B-8A07-475F-9954-F73F424147CD}" dt="2020-04-17T07:26:19.035" v="71"/>
          <ac:spMkLst>
            <pc:docMk/>
            <pc:sldMk cId="2545459670" sldId="497"/>
            <ac:spMk id="12" creationId="{782FD876-40F9-417C-ABBD-6D2E25D4C3A7}"/>
          </ac:spMkLst>
        </pc:spChg>
        <pc:picChg chg="add ord">
          <ac:chgData name="Kwok, Jeffrey" userId="fbec0761-eb99-44b1-8af3-ab907abe7c2d" providerId="ADAL" clId="{35222B5B-8A07-475F-9954-F73F424147CD}" dt="2020-04-17T07:26:28.655" v="74" actId="167"/>
          <ac:picMkLst>
            <pc:docMk/>
            <pc:sldMk cId="2545459670" sldId="497"/>
            <ac:picMk id="13" creationId="{4BC03D3E-D860-48E7-B07F-C17E27804BB1}"/>
          </ac:picMkLst>
        </pc:picChg>
      </pc:sldChg>
      <pc:sldChg chg="addSp delSp modSp add">
        <pc:chgData name="Kwok, Jeffrey" userId="fbec0761-eb99-44b1-8af3-ab907abe7c2d" providerId="ADAL" clId="{35222B5B-8A07-475F-9954-F73F424147CD}" dt="2020-04-17T07:28:03.815" v="110" actId="1076"/>
        <pc:sldMkLst>
          <pc:docMk/>
          <pc:sldMk cId="1088095386" sldId="498"/>
        </pc:sldMkLst>
        <pc:spChg chg="mod">
          <ac:chgData name="Kwok, Jeffrey" userId="fbec0761-eb99-44b1-8af3-ab907abe7c2d" providerId="ADAL" clId="{35222B5B-8A07-475F-9954-F73F424147CD}" dt="2020-04-17T07:26:58.845" v="89" actId="20577"/>
          <ac:spMkLst>
            <pc:docMk/>
            <pc:sldMk cId="1088095386" sldId="498"/>
            <ac:spMk id="5" creationId="{538D2D68-7EEE-4114-9FEF-241B74FEC3C8}"/>
          </ac:spMkLst>
        </pc:spChg>
        <pc:spChg chg="mod">
          <ac:chgData name="Kwok, Jeffrey" userId="fbec0761-eb99-44b1-8af3-ab907abe7c2d" providerId="ADAL" clId="{35222B5B-8A07-475F-9954-F73F424147CD}" dt="2020-04-17T07:27:02.132" v="96" actId="20577"/>
          <ac:spMkLst>
            <pc:docMk/>
            <pc:sldMk cId="1088095386" sldId="498"/>
            <ac:spMk id="6" creationId="{78AF37B2-8C29-4762-859E-85D666D6A18E}"/>
          </ac:spMkLst>
        </pc:spChg>
        <pc:spChg chg="mod">
          <ac:chgData name="Kwok, Jeffrey" userId="fbec0761-eb99-44b1-8af3-ab907abe7c2d" providerId="ADAL" clId="{35222B5B-8A07-475F-9954-F73F424147CD}" dt="2020-04-17T07:26:55.367" v="78" actId="27636"/>
          <ac:spMkLst>
            <pc:docMk/>
            <pc:sldMk cId="1088095386" sldId="498"/>
            <ac:spMk id="7" creationId="{89C01204-7A9A-4FDF-A601-587C7A87152C}"/>
          </ac:spMkLst>
        </pc:spChg>
        <pc:spChg chg="del">
          <ac:chgData name="Kwok, Jeffrey" userId="fbec0761-eb99-44b1-8af3-ab907abe7c2d" providerId="ADAL" clId="{35222B5B-8A07-475F-9954-F73F424147CD}" dt="2020-04-17T07:27:04.430" v="97" actId="478"/>
          <ac:spMkLst>
            <pc:docMk/>
            <pc:sldMk cId="1088095386" sldId="498"/>
            <ac:spMk id="8" creationId="{DD00CBE4-17C7-4463-84E9-516C4231D2FC}"/>
          </ac:spMkLst>
        </pc:spChg>
        <pc:spChg chg="add mod">
          <ac:chgData name="Kwok, Jeffrey" userId="fbec0761-eb99-44b1-8af3-ab907abe7c2d" providerId="ADAL" clId="{35222B5B-8A07-475F-9954-F73F424147CD}" dt="2020-04-17T07:27:20.534" v="103" actId="14100"/>
          <ac:spMkLst>
            <pc:docMk/>
            <pc:sldMk cId="1088095386" sldId="498"/>
            <ac:spMk id="11" creationId="{EDC40B8A-15B2-48B9-95BE-70143F6AD62F}"/>
          </ac:spMkLst>
        </pc:spChg>
        <pc:spChg chg="add mod">
          <ac:chgData name="Kwok, Jeffrey" userId="fbec0761-eb99-44b1-8af3-ab907abe7c2d" providerId="ADAL" clId="{35222B5B-8A07-475F-9954-F73F424147CD}" dt="2020-04-17T07:27:47.681" v="106" actId="1076"/>
          <ac:spMkLst>
            <pc:docMk/>
            <pc:sldMk cId="1088095386" sldId="498"/>
            <ac:spMk id="12" creationId="{F6A34CDF-23DE-4692-B592-A94D1B63E884}"/>
          </ac:spMkLst>
        </pc:spChg>
        <pc:spChg chg="add mod">
          <ac:chgData name="Kwok, Jeffrey" userId="fbec0761-eb99-44b1-8af3-ab907abe7c2d" providerId="ADAL" clId="{35222B5B-8A07-475F-9954-F73F424147CD}" dt="2020-04-17T07:28:03.815" v="110" actId="1076"/>
          <ac:spMkLst>
            <pc:docMk/>
            <pc:sldMk cId="1088095386" sldId="498"/>
            <ac:spMk id="13" creationId="{10B63615-40BB-4F19-BC0B-42DE807667E8}"/>
          </ac:spMkLst>
        </pc:spChg>
        <pc:picChg chg="add mod">
          <ac:chgData name="Kwok, Jeffrey" userId="fbec0761-eb99-44b1-8af3-ab907abe7c2d" providerId="ADAL" clId="{35222B5B-8A07-475F-9954-F73F424147CD}" dt="2020-04-17T07:27:16.583" v="101" actId="14100"/>
          <ac:picMkLst>
            <pc:docMk/>
            <pc:sldMk cId="1088095386" sldId="498"/>
            <ac:picMk id="9" creationId="{51C603E0-0FF4-419A-9819-F2B26CD0CA3F}"/>
          </ac:picMkLst>
        </pc:picChg>
        <pc:picChg chg="add mod">
          <ac:chgData name="Kwok, Jeffrey" userId="fbec0761-eb99-44b1-8af3-ab907abe7c2d" providerId="ADAL" clId="{35222B5B-8A07-475F-9954-F73F424147CD}" dt="2020-04-17T07:27:59.311" v="109" actId="1076"/>
          <ac:picMkLst>
            <pc:docMk/>
            <pc:sldMk cId="1088095386" sldId="498"/>
            <ac:picMk id="10" creationId="{98067DE7-D0D8-4CB7-BCA7-DB39EAF85151}"/>
          </ac:picMkLst>
        </pc:picChg>
      </pc:sldChg>
      <pc:sldChg chg="addSp delSp modSp add">
        <pc:chgData name="Kwok, Jeffrey" userId="fbec0761-eb99-44b1-8af3-ab907abe7c2d" providerId="ADAL" clId="{35222B5B-8A07-475F-9954-F73F424147CD}" dt="2020-04-17T07:30:23.324" v="163" actId="20577"/>
        <pc:sldMkLst>
          <pc:docMk/>
          <pc:sldMk cId="3015778305" sldId="499"/>
        </pc:sldMkLst>
        <pc:spChg chg="mod">
          <ac:chgData name="Kwok, Jeffrey" userId="fbec0761-eb99-44b1-8af3-ab907abe7c2d" providerId="ADAL" clId="{35222B5B-8A07-475F-9954-F73F424147CD}" dt="2020-04-17T07:29:35.858" v="125" actId="20577"/>
          <ac:spMkLst>
            <pc:docMk/>
            <pc:sldMk cId="3015778305" sldId="499"/>
            <ac:spMk id="5" creationId="{A73DB19F-FFAC-4A81-8077-8157F5A6B026}"/>
          </ac:spMkLst>
        </pc:spChg>
        <pc:spChg chg="mod">
          <ac:chgData name="Kwok, Jeffrey" userId="fbec0761-eb99-44b1-8af3-ab907abe7c2d" providerId="ADAL" clId="{35222B5B-8A07-475F-9954-F73F424147CD}" dt="2020-04-17T07:30:23.324" v="163" actId="20577"/>
          <ac:spMkLst>
            <pc:docMk/>
            <pc:sldMk cId="3015778305" sldId="499"/>
            <ac:spMk id="6" creationId="{E96CDC78-A48F-4EBD-BD45-FA8E5E54DF81}"/>
          </ac:spMkLst>
        </pc:spChg>
        <pc:spChg chg="mod">
          <ac:chgData name="Kwok, Jeffrey" userId="fbec0761-eb99-44b1-8af3-ab907abe7c2d" providerId="ADAL" clId="{35222B5B-8A07-475F-9954-F73F424147CD}" dt="2020-04-17T07:29:30.803" v="112" actId="27636"/>
          <ac:spMkLst>
            <pc:docMk/>
            <pc:sldMk cId="3015778305" sldId="499"/>
            <ac:spMk id="7" creationId="{91687FFD-3195-4C4B-8BB2-17EC9E5B54E3}"/>
          </ac:spMkLst>
        </pc:spChg>
        <pc:spChg chg="del">
          <ac:chgData name="Kwok, Jeffrey" userId="fbec0761-eb99-44b1-8af3-ab907abe7c2d" providerId="ADAL" clId="{35222B5B-8A07-475F-9954-F73F424147CD}" dt="2020-04-17T07:29:43.749" v="142" actId="478"/>
          <ac:spMkLst>
            <pc:docMk/>
            <pc:sldMk cId="3015778305" sldId="499"/>
            <ac:spMk id="8" creationId="{53790E67-8D0C-4F8D-9499-F835F50D41C6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9" creationId="{D013BE15-622B-4C35-9853-EC5E201BE5E3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10" creationId="{698EAFA9-4CF1-4688-87C1-F049DBB56B9A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11" creationId="{AE7F105F-6971-4156-BB69-904D6DA1F60E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14" creationId="{2B6179EF-527B-4708-BD58-1724F0547F60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15" creationId="{3D692956-3E5F-4B5A-8CCE-AD71F9E06C1B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16" creationId="{056DFF9A-8257-4575-9D1A-8F5D71F160E1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18" creationId="{EE07EB95-379D-412D-BF03-54C3E21A87C3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19" creationId="{4F1F6EF8-DC34-45D5-997A-FE92831285CD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20" creationId="{BD877D18-D1EF-46A7-9AE7-038F282ABCDD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24" creationId="{04DCBD9D-9A1A-4264-8D5A-AB7C0D6F177C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25" creationId="{ED4E0C49-153B-48AA-9409-E1AF56868279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26" creationId="{8E8275F2-B97E-4A2B-8A67-B545ACA2F0A0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27" creationId="{47286A95-BDA0-4BD8-85D8-DF53FD86FB20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28" creationId="{FFDAC7F6-1BDE-4D3C-B381-14104350877B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29" creationId="{E5DAF03D-D05B-4368-BF89-CE4AE99CE419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30" creationId="{55F16535-841F-4C4C-91AD-078C0BE384EF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44" creationId="{1FFEADD0-CF01-4DAB-B501-A7ADFF924B37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45" creationId="{9A1E1EE7-C119-4F2D-86FF-D2A663D2EC44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46" creationId="{0955C06C-E077-4121-842F-00032E5CE606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47" creationId="{BE948456-DAC3-4A86-99BD-999563AFB467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48" creationId="{B3AE6275-84C1-4445-A7F6-AEDBAE56376F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49" creationId="{BF18B9B7-2CAF-4637-9744-539C27753214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50" creationId="{6E07E877-F187-4DC7-8442-617AE883939D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51" creationId="{1053C9E5-4CBE-4A9A-8371-591B5F40FC02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52" creationId="{AC6E3002-C8C1-4AD7-8195-5EDC8260EBFF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53" creationId="{9184C7CB-D522-4679-91CE-1C18B33A8907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54" creationId="{271D4820-841B-44BE-87CC-6FACA6A64CFE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55" creationId="{D58A4AB2-BEF4-436E-B3A6-F56AE749F3E7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56" creationId="{B0242DCC-19A3-4F67-A3CF-59851EBA3EAE}"/>
          </ac:spMkLst>
        </pc:spChg>
        <pc:spChg chg="add mod">
          <ac:chgData name="Kwok, Jeffrey" userId="fbec0761-eb99-44b1-8af3-ab907abe7c2d" providerId="ADAL" clId="{35222B5B-8A07-475F-9954-F73F424147CD}" dt="2020-04-17T07:30:03.306" v="144" actId="1076"/>
          <ac:spMkLst>
            <pc:docMk/>
            <pc:sldMk cId="3015778305" sldId="499"/>
            <ac:spMk id="57" creationId="{4569F2F6-AE20-45F6-BC49-FE691B703FC7}"/>
          </ac:spMkLst>
        </pc:spChg>
        <pc:grpChg chg="add mod">
          <ac:chgData name="Kwok, Jeffrey" userId="fbec0761-eb99-44b1-8af3-ab907abe7c2d" providerId="ADAL" clId="{35222B5B-8A07-475F-9954-F73F424147CD}" dt="2020-04-17T07:30:03.306" v="144" actId="1076"/>
          <ac:grpSpMkLst>
            <pc:docMk/>
            <pc:sldMk cId="3015778305" sldId="499"/>
            <ac:grpSpMk id="31" creationId="{65E7F3D9-8A94-4AD3-80CD-5093E1B2E559}"/>
          </ac:grpSpMkLst>
        </pc:grpChg>
        <pc:grpChg chg="add mod">
          <ac:chgData name="Kwok, Jeffrey" userId="fbec0761-eb99-44b1-8af3-ab907abe7c2d" providerId="ADAL" clId="{35222B5B-8A07-475F-9954-F73F424147CD}" dt="2020-04-17T07:30:03.306" v="144" actId="1076"/>
          <ac:grpSpMkLst>
            <pc:docMk/>
            <pc:sldMk cId="3015778305" sldId="499"/>
            <ac:grpSpMk id="35" creationId="{3DDAAE34-41CD-4581-88B5-A5311565450F}"/>
          </ac:grpSpMkLst>
        </pc:grpChg>
        <pc:grpChg chg="add mod">
          <ac:chgData name="Kwok, Jeffrey" userId="fbec0761-eb99-44b1-8af3-ab907abe7c2d" providerId="ADAL" clId="{35222B5B-8A07-475F-9954-F73F424147CD}" dt="2020-04-17T07:30:03.306" v="144" actId="1076"/>
          <ac:grpSpMkLst>
            <pc:docMk/>
            <pc:sldMk cId="3015778305" sldId="499"/>
            <ac:grpSpMk id="39" creationId="{C22CEFCD-9434-47ED-B31A-A13FA63E47A6}"/>
          </ac:grpSpMkLst>
        </pc:grpChg>
        <pc:cxnChg chg="add mod">
          <ac:chgData name="Kwok, Jeffrey" userId="fbec0761-eb99-44b1-8af3-ab907abe7c2d" providerId="ADAL" clId="{35222B5B-8A07-475F-9954-F73F424147CD}" dt="2020-04-17T07:30:03.306" v="144" actId="1076"/>
          <ac:cxnSpMkLst>
            <pc:docMk/>
            <pc:sldMk cId="3015778305" sldId="499"/>
            <ac:cxnSpMk id="12" creationId="{64235718-20F5-4B7A-8EEF-66121B3D53AD}"/>
          </ac:cxnSpMkLst>
        </pc:cxnChg>
        <pc:cxnChg chg="add mod">
          <ac:chgData name="Kwok, Jeffrey" userId="fbec0761-eb99-44b1-8af3-ab907abe7c2d" providerId="ADAL" clId="{35222B5B-8A07-475F-9954-F73F424147CD}" dt="2020-04-17T07:30:03.306" v="144" actId="1076"/>
          <ac:cxnSpMkLst>
            <pc:docMk/>
            <pc:sldMk cId="3015778305" sldId="499"/>
            <ac:cxnSpMk id="13" creationId="{DCDAE8A6-84F2-4CB7-8727-F9D15F153526}"/>
          </ac:cxnSpMkLst>
        </pc:cxnChg>
        <pc:cxnChg chg="add mod">
          <ac:chgData name="Kwok, Jeffrey" userId="fbec0761-eb99-44b1-8af3-ab907abe7c2d" providerId="ADAL" clId="{35222B5B-8A07-475F-9954-F73F424147CD}" dt="2020-04-17T07:30:03.306" v="144" actId="1076"/>
          <ac:cxnSpMkLst>
            <pc:docMk/>
            <pc:sldMk cId="3015778305" sldId="499"/>
            <ac:cxnSpMk id="17" creationId="{01BDE71C-2AD7-43CD-8288-FB0BC92EA77B}"/>
          </ac:cxnSpMkLst>
        </pc:cxnChg>
        <pc:cxnChg chg="add mod">
          <ac:chgData name="Kwok, Jeffrey" userId="fbec0761-eb99-44b1-8af3-ab907abe7c2d" providerId="ADAL" clId="{35222B5B-8A07-475F-9954-F73F424147CD}" dt="2020-04-17T07:30:03.306" v="144" actId="1076"/>
          <ac:cxnSpMkLst>
            <pc:docMk/>
            <pc:sldMk cId="3015778305" sldId="499"/>
            <ac:cxnSpMk id="21" creationId="{BE6624ED-0196-4149-BB28-D06E9C1819A3}"/>
          </ac:cxnSpMkLst>
        </pc:cxnChg>
        <pc:cxnChg chg="add mod">
          <ac:chgData name="Kwok, Jeffrey" userId="fbec0761-eb99-44b1-8af3-ab907abe7c2d" providerId="ADAL" clId="{35222B5B-8A07-475F-9954-F73F424147CD}" dt="2020-04-17T07:30:03.306" v="144" actId="1076"/>
          <ac:cxnSpMkLst>
            <pc:docMk/>
            <pc:sldMk cId="3015778305" sldId="499"/>
            <ac:cxnSpMk id="22" creationId="{1364F167-6C31-4A48-969B-88F74708E2A9}"/>
          </ac:cxnSpMkLst>
        </pc:cxnChg>
        <pc:cxnChg chg="add mod">
          <ac:chgData name="Kwok, Jeffrey" userId="fbec0761-eb99-44b1-8af3-ab907abe7c2d" providerId="ADAL" clId="{35222B5B-8A07-475F-9954-F73F424147CD}" dt="2020-04-17T07:30:03.306" v="144" actId="1076"/>
          <ac:cxnSpMkLst>
            <pc:docMk/>
            <pc:sldMk cId="3015778305" sldId="499"/>
            <ac:cxnSpMk id="23" creationId="{1F1E340C-D449-4736-AA84-A48F5C15E98D}"/>
          </ac:cxnSpMkLst>
        </pc:cxnChg>
      </pc:sldChg>
    </pc:docChg>
  </pc:docChgLst>
  <pc:docChgLst>
    <pc:chgData name="Minu, Adolphus" userId="84bc3493-e2f7-488b-b30a-d7990db68534" providerId="ADAL" clId="{9AAAF4E1-2CFC-4A43-8EC2-235E217E6CB4}"/>
    <pc:docChg chg="modSld">
      <pc:chgData name="Minu, Adolphus" userId="84bc3493-e2f7-488b-b30a-d7990db68534" providerId="ADAL" clId="{9AAAF4E1-2CFC-4A43-8EC2-235E217E6CB4}" dt="2020-04-20T04:22:08.119" v="21" actId="1076"/>
      <pc:docMkLst>
        <pc:docMk/>
      </pc:docMkLst>
      <pc:sldChg chg="modSp">
        <pc:chgData name="Minu, Adolphus" userId="84bc3493-e2f7-488b-b30a-d7990db68534" providerId="ADAL" clId="{9AAAF4E1-2CFC-4A43-8EC2-235E217E6CB4}" dt="2020-04-20T04:22:08.119" v="21" actId="1076"/>
        <pc:sldMkLst>
          <pc:docMk/>
          <pc:sldMk cId="442916265" sldId="495"/>
        </pc:sldMkLst>
        <pc:spChg chg="mod">
          <ac:chgData name="Minu, Adolphus" userId="84bc3493-e2f7-488b-b30a-d7990db68534" providerId="ADAL" clId="{9AAAF4E1-2CFC-4A43-8EC2-235E217E6CB4}" dt="2020-04-20T04:22:05.327" v="20" actId="1076"/>
          <ac:spMkLst>
            <pc:docMk/>
            <pc:sldMk cId="442916265" sldId="495"/>
            <ac:spMk id="14" creationId="{0C2A192E-D113-44D7-9725-40810DF6540A}"/>
          </ac:spMkLst>
        </pc:spChg>
        <pc:graphicFrameChg chg="mod modGraphic">
          <ac:chgData name="Minu, Adolphus" userId="84bc3493-e2f7-488b-b30a-d7990db68534" providerId="ADAL" clId="{9AAAF4E1-2CFC-4A43-8EC2-235E217E6CB4}" dt="2020-04-20T04:22:08.119" v="21" actId="1076"/>
          <ac:graphicFrameMkLst>
            <pc:docMk/>
            <pc:sldMk cId="442916265" sldId="495"/>
            <ac:graphicFrameMk id="13" creationId="{F98BA36F-3908-4310-BF24-A94F3DC3C55A}"/>
          </ac:graphicFrameMkLst>
        </pc:graphicFrameChg>
        <pc:graphicFrameChg chg="modGraphic">
          <ac:chgData name="Minu, Adolphus" userId="84bc3493-e2f7-488b-b30a-d7990db68534" providerId="ADAL" clId="{9AAAF4E1-2CFC-4A43-8EC2-235E217E6CB4}" dt="2020-04-20T04:20:48.235" v="15" actId="20577"/>
          <ac:graphicFrameMkLst>
            <pc:docMk/>
            <pc:sldMk cId="442916265" sldId="495"/>
            <ac:graphicFrameMk id="17" creationId="{A1AC77E9-7DCE-4A51-836C-A2A8F1CD2686}"/>
          </ac:graphicFrameMkLst>
        </pc:graphicFrameChg>
      </pc:sldChg>
    </pc:docChg>
  </pc:docChgLst>
  <pc:docChgLst>
    <pc:chgData name="Kwok, Jeffrey" userId="fbec0761-eb99-44b1-8af3-ab907abe7c2d" providerId="ADAL" clId="{7EF0537D-2525-4632-8C9C-78F9870C483D}"/>
    <pc:docChg chg="undo custSel addSld delSld modSld">
      <pc:chgData name="Kwok, Jeffrey" userId="fbec0761-eb99-44b1-8af3-ab907abe7c2d" providerId="ADAL" clId="{7EF0537D-2525-4632-8C9C-78F9870C483D}" dt="2020-03-20T05:02:21.991" v="1134" actId="27918"/>
      <pc:docMkLst>
        <pc:docMk/>
      </pc:docMkLst>
      <pc:sldChg chg="modSp">
        <pc:chgData name="Kwok, Jeffrey" userId="fbec0761-eb99-44b1-8af3-ab907abe7c2d" providerId="ADAL" clId="{7EF0537D-2525-4632-8C9C-78F9870C483D}" dt="2020-03-20T02:39:19.389" v="715" actId="20577"/>
        <pc:sldMkLst>
          <pc:docMk/>
          <pc:sldMk cId="1152484643" sldId="306"/>
        </pc:sldMkLst>
        <pc:spChg chg="mod">
          <ac:chgData name="Kwok, Jeffrey" userId="fbec0761-eb99-44b1-8af3-ab907abe7c2d" providerId="ADAL" clId="{7EF0537D-2525-4632-8C9C-78F9870C483D}" dt="2020-03-20T02:39:19.389" v="715" actId="20577"/>
          <ac:spMkLst>
            <pc:docMk/>
            <pc:sldMk cId="1152484643" sldId="306"/>
            <ac:spMk id="5" creationId="{E32E54CC-9CF9-45B8-93A0-6263EF47440B}"/>
          </ac:spMkLst>
        </pc:spChg>
      </pc:sldChg>
      <pc:sldChg chg="addSp delSp modSp modAnim">
        <pc:chgData name="Kwok, Jeffrey" userId="fbec0761-eb99-44b1-8af3-ab907abe7c2d" providerId="ADAL" clId="{7EF0537D-2525-4632-8C9C-78F9870C483D}" dt="2020-03-20T03:41:42.339" v="980"/>
        <pc:sldMkLst>
          <pc:docMk/>
          <pc:sldMk cId="2394793380" sldId="307"/>
        </pc:sldMkLst>
        <pc:spChg chg="del mod">
          <ac:chgData name="Kwok, Jeffrey" userId="fbec0761-eb99-44b1-8af3-ab907abe7c2d" providerId="ADAL" clId="{7EF0537D-2525-4632-8C9C-78F9870C483D}" dt="2020-03-20T02:02:05.182" v="183" actId="478"/>
          <ac:spMkLst>
            <pc:docMk/>
            <pc:sldMk cId="2394793380" sldId="307"/>
            <ac:spMk id="5" creationId="{E9139430-7A10-41E8-8672-EC65F71B568E}"/>
          </ac:spMkLst>
        </pc:spChg>
        <pc:spChg chg="mod">
          <ac:chgData name="Kwok, Jeffrey" userId="fbec0761-eb99-44b1-8af3-ab907abe7c2d" providerId="ADAL" clId="{7EF0537D-2525-4632-8C9C-78F9870C483D}" dt="2020-03-20T02:09:21.221" v="196" actId="20577"/>
          <ac:spMkLst>
            <pc:docMk/>
            <pc:sldMk cId="2394793380" sldId="307"/>
            <ac:spMk id="7" creationId="{D7903B0A-C96B-41D0-8272-1E599D44A95D}"/>
          </ac:spMkLst>
        </pc:spChg>
        <pc:spChg chg="mod">
          <ac:chgData name="Kwok, Jeffrey" userId="fbec0761-eb99-44b1-8af3-ab907abe7c2d" providerId="ADAL" clId="{7EF0537D-2525-4632-8C9C-78F9870C483D}" dt="2020-03-20T02:02:00.335" v="181" actId="20577"/>
          <ac:spMkLst>
            <pc:docMk/>
            <pc:sldMk cId="2394793380" sldId="307"/>
            <ac:spMk id="8" creationId="{6390F593-5623-4A34-A97D-B347E3602C60}"/>
          </ac:spMkLst>
        </pc:spChg>
        <pc:spChg chg="add del mod">
          <ac:chgData name="Kwok, Jeffrey" userId="fbec0761-eb99-44b1-8af3-ab907abe7c2d" providerId="ADAL" clId="{7EF0537D-2525-4632-8C9C-78F9870C483D}" dt="2020-03-20T02:09:23.528" v="197" actId="478"/>
          <ac:spMkLst>
            <pc:docMk/>
            <pc:sldMk cId="2394793380" sldId="307"/>
            <ac:spMk id="11" creationId="{E2CFB9F6-5DA4-4817-ABF4-81C6ABC9436C}"/>
          </ac:spMkLst>
        </pc:spChg>
        <pc:spChg chg="add del">
          <ac:chgData name="Kwok, Jeffrey" userId="fbec0761-eb99-44b1-8af3-ab907abe7c2d" providerId="ADAL" clId="{7EF0537D-2525-4632-8C9C-78F9870C483D}" dt="2020-03-20T03:37:03.636" v="961"/>
          <ac:spMkLst>
            <pc:docMk/>
            <pc:sldMk cId="2394793380" sldId="307"/>
            <ac:spMk id="12" creationId="{09C5F3E4-2CD3-4C88-AEC5-BDE23220551E}"/>
          </ac:spMkLst>
        </pc:spChg>
        <pc:spChg chg="add del">
          <ac:chgData name="Kwok, Jeffrey" userId="fbec0761-eb99-44b1-8af3-ab907abe7c2d" providerId="ADAL" clId="{7EF0537D-2525-4632-8C9C-78F9870C483D}" dt="2020-03-20T03:37:03.636" v="961"/>
          <ac:spMkLst>
            <pc:docMk/>
            <pc:sldMk cId="2394793380" sldId="307"/>
            <ac:spMk id="17" creationId="{29C836F5-D486-41E4-A7C2-CFF713965210}"/>
          </ac:spMkLst>
        </pc:spChg>
        <pc:spChg chg="add del">
          <ac:chgData name="Kwok, Jeffrey" userId="fbec0761-eb99-44b1-8af3-ab907abe7c2d" providerId="ADAL" clId="{7EF0537D-2525-4632-8C9C-78F9870C483D}" dt="2020-03-20T03:37:15.732" v="963" actId="478"/>
          <ac:spMkLst>
            <pc:docMk/>
            <pc:sldMk cId="2394793380" sldId="307"/>
            <ac:spMk id="22" creationId="{9E90A275-10D2-4B1A-B95D-CFE67FC900D6}"/>
          </ac:spMkLst>
        </pc:spChg>
        <pc:spChg chg="add del">
          <ac:chgData name="Kwok, Jeffrey" userId="fbec0761-eb99-44b1-8af3-ab907abe7c2d" providerId="ADAL" clId="{7EF0537D-2525-4632-8C9C-78F9870C483D}" dt="2020-03-20T03:37:53.302" v="970" actId="478"/>
          <ac:spMkLst>
            <pc:docMk/>
            <pc:sldMk cId="2394793380" sldId="307"/>
            <ac:spMk id="27" creationId="{1B2112FD-4E3D-4899-8A25-F825EE31C437}"/>
          </ac:spMkLst>
        </pc:spChg>
        <pc:spChg chg="add del mod">
          <ac:chgData name="Kwok, Jeffrey" userId="fbec0761-eb99-44b1-8af3-ab907abe7c2d" providerId="ADAL" clId="{7EF0537D-2525-4632-8C9C-78F9870C483D}" dt="2020-03-20T03:40:47.102" v="977" actId="478"/>
          <ac:spMkLst>
            <pc:docMk/>
            <pc:sldMk cId="2394793380" sldId="307"/>
            <ac:spMk id="32" creationId="{0C715694-3227-4DB2-A82C-B0B16F5652A7}"/>
          </ac:spMkLst>
        </pc:spChg>
        <pc:spChg chg="add">
          <ac:chgData name="Kwok, Jeffrey" userId="fbec0761-eb99-44b1-8af3-ab907abe7c2d" providerId="ADAL" clId="{7EF0537D-2525-4632-8C9C-78F9870C483D}" dt="2020-03-20T03:40:38.213" v="975"/>
          <ac:spMkLst>
            <pc:docMk/>
            <pc:sldMk cId="2394793380" sldId="307"/>
            <ac:spMk id="37" creationId="{86051366-957A-4C82-B192-515884307A63}"/>
          </ac:spMkLst>
        </pc:spChg>
        <pc:graphicFrameChg chg="add del">
          <ac:chgData name="Kwok, Jeffrey" userId="fbec0761-eb99-44b1-8af3-ab907abe7c2d" providerId="ADAL" clId="{7EF0537D-2525-4632-8C9C-78F9870C483D}" dt="2020-03-20T03:37:03.636" v="961"/>
          <ac:graphicFrameMkLst>
            <pc:docMk/>
            <pc:sldMk cId="2394793380" sldId="307"/>
            <ac:graphicFrameMk id="13" creationId="{01E5D68C-9999-4332-AD21-51FE4C7604B0}"/>
          </ac:graphicFrameMkLst>
        </pc:graphicFrameChg>
        <pc:graphicFrameChg chg="add del mod">
          <ac:chgData name="Kwok, Jeffrey" userId="fbec0761-eb99-44b1-8af3-ab907abe7c2d" providerId="ADAL" clId="{7EF0537D-2525-4632-8C9C-78F9870C483D}" dt="2020-03-20T03:37:45.498" v="969" actId="478"/>
          <ac:graphicFrameMkLst>
            <pc:docMk/>
            <pc:sldMk cId="2394793380" sldId="307"/>
            <ac:graphicFrameMk id="23" creationId="{B122AD7D-AD12-4640-8DEE-A19F5C329EDA}"/>
          </ac:graphicFrameMkLst>
        </pc:graphicFrameChg>
        <pc:graphicFrameChg chg="add mod">
          <ac:chgData name="Kwok, Jeffrey" userId="fbec0761-eb99-44b1-8af3-ab907abe7c2d" providerId="ADAL" clId="{7EF0537D-2525-4632-8C9C-78F9870C483D}" dt="2020-03-20T03:41:42.339" v="980"/>
          <ac:graphicFrameMkLst>
            <pc:docMk/>
            <pc:sldMk cId="2394793380" sldId="307"/>
            <ac:graphicFrameMk id="33" creationId="{E526AD05-1656-4BF0-A669-AC12BB098DDC}"/>
          </ac:graphicFrameMkLst>
        </pc:graphicFrameChg>
        <pc:picChg chg="del">
          <ac:chgData name="Kwok, Jeffrey" userId="fbec0761-eb99-44b1-8af3-ab907abe7c2d" providerId="ADAL" clId="{7EF0537D-2525-4632-8C9C-78F9870C483D}" dt="2020-03-20T02:09:37.972" v="212" actId="478"/>
          <ac:picMkLst>
            <pc:docMk/>
            <pc:sldMk cId="2394793380" sldId="307"/>
            <ac:picMk id="9" creationId="{11CB3934-EB5D-432B-8271-33ADD7847C46}"/>
          </ac:picMkLst>
        </pc:picChg>
        <pc:picChg chg="add del">
          <ac:chgData name="Kwok, Jeffrey" userId="fbec0761-eb99-44b1-8af3-ab907abe7c2d" providerId="ADAL" clId="{7EF0537D-2525-4632-8C9C-78F9870C483D}" dt="2020-03-20T03:37:03.636" v="961"/>
          <ac:picMkLst>
            <pc:docMk/>
            <pc:sldMk cId="2394793380" sldId="307"/>
            <ac:picMk id="14" creationId="{27DBDBEF-4229-4BA3-A52D-CE46A592A06D}"/>
          </ac:picMkLst>
        </pc:picChg>
        <pc:picChg chg="add del">
          <ac:chgData name="Kwok, Jeffrey" userId="fbec0761-eb99-44b1-8af3-ab907abe7c2d" providerId="ADAL" clId="{7EF0537D-2525-4632-8C9C-78F9870C483D}" dt="2020-03-20T03:37:03.636" v="961"/>
          <ac:picMkLst>
            <pc:docMk/>
            <pc:sldMk cId="2394793380" sldId="307"/>
            <ac:picMk id="15" creationId="{313D4499-3367-4E8D-BA8D-01A4EBEE2EAC}"/>
          </ac:picMkLst>
        </pc:picChg>
        <pc:picChg chg="add del">
          <ac:chgData name="Kwok, Jeffrey" userId="fbec0761-eb99-44b1-8af3-ab907abe7c2d" providerId="ADAL" clId="{7EF0537D-2525-4632-8C9C-78F9870C483D}" dt="2020-03-20T03:37:03.636" v="961"/>
          <ac:picMkLst>
            <pc:docMk/>
            <pc:sldMk cId="2394793380" sldId="307"/>
            <ac:picMk id="16" creationId="{658A138E-BF33-4818-84DF-33F36C08A202}"/>
          </ac:picMkLst>
        </pc:picChg>
        <pc:picChg chg="add del">
          <ac:chgData name="Kwok, Jeffrey" userId="fbec0761-eb99-44b1-8af3-ab907abe7c2d" providerId="ADAL" clId="{7EF0537D-2525-4632-8C9C-78F9870C483D}" dt="2020-03-20T03:37:03.636" v="961"/>
          <ac:picMkLst>
            <pc:docMk/>
            <pc:sldMk cId="2394793380" sldId="307"/>
            <ac:picMk id="18" creationId="{5A065897-8944-464B-9B09-6DC82F93104D}"/>
          </ac:picMkLst>
        </pc:picChg>
        <pc:picChg chg="add del">
          <ac:chgData name="Kwok, Jeffrey" userId="fbec0761-eb99-44b1-8af3-ab907abe7c2d" providerId="ADAL" clId="{7EF0537D-2525-4632-8C9C-78F9870C483D}" dt="2020-03-20T03:37:03.636" v="961"/>
          <ac:picMkLst>
            <pc:docMk/>
            <pc:sldMk cId="2394793380" sldId="307"/>
            <ac:picMk id="19" creationId="{FCEEC845-919A-43A7-A554-5C564ACD6799}"/>
          </ac:picMkLst>
        </pc:picChg>
        <pc:picChg chg="add del">
          <ac:chgData name="Kwok, Jeffrey" userId="fbec0761-eb99-44b1-8af3-ab907abe7c2d" providerId="ADAL" clId="{7EF0537D-2525-4632-8C9C-78F9870C483D}" dt="2020-03-20T03:37:03.636" v="961"/>
          <ac:picMkLst>
            <pc:docMk/>
            <pc:sldMk cId="2394793380" sldId="307"/>
            <ac:picMk id="20" creationId="{82E01D94-7BAB-4B4B-A7E4-8C42849D217E}"/>
          </ac:picMkLst>
        </pc:picChg>
        <pc:picChg chg="add del">
          <ac:chgData name="Kwok, Jeffrey" userId="fbec0761-eb99-44b1-8af3-ab907abe7c2d" providerId="ADAL" clId="{7EF0537D-2525-4632-8C9C-78F9870C483D}" dt="2020-03-20T03:37:03.636" v="961"/>
          <ac:picMkLst>
            <pc:docMk/>
            <pc:sldMk cId="2394793380" sldId="307"/>
            <ac:picMk id="21" creationId="{5EB1CAF9-840E-4E2B-9BAC-BD39E29FC143}"/>
          </ac:picMkLst>
        </pc:picChg>
        <pc:picChg chg="add del">
          <ac:chgData name="Kwok, Jeffrey" userId="fbec0761-eb99-44b1-8af3-ab907abe7c2d" providerId="ADAL" clId="{7EF0537D-2525-4632-8C9C-78F9870C483D}" dt="2020-03-20T03:37:53.302" v="970" actId="478"/>
          <ac:picMkLst>
            <pc:docMk/>
            <pc:sldMk cId="2394793380" sldId="307"/>
            <ac:picMk id="24" creationId="{00BA8658-0C06-4CD8-AA90-94533C78FDE2}"/>
          </ac:picMkLst>
        </pc:picChg>
        <pc:picChg chg="add del">
          <ac:chgData name="Kwok, Jeffrey" userId="fbec0761-eb99-44b1-8af3-ab907abe7c2d" providerId="ADAL" clId="{7EF0537D-2525-4632-8C9C-78F9870C483D}" dt="2020-03-20T03:37:53.302" v="970" actId="478"/>
          <ac:picMkLst>
            <pc:docMk/>
            <pc:sldMk cId="2394793380" sldId="307"/>
            <ac:picMk id="25" creationId="{9A52200C-01D2-457D-9B33-64D48F9BB799}"/>
          </ac:picMkLst>
        </pc:picChg>
        <pc:picChg chg="add del">
          <ac:chgData name="Kwok, Jeffrey" userId="fbec0761-eb99-44b1-8af3-ab907abe7c2d" providerId="ADAL" clId="{7EF0537D-2525-4632-8C9C-78F9870C483D}" dt="2020-03-20T03:37:53.302" v="970" actId="478"/>
          <ac:picMkLst>
            <pc:docMk/>
            <pc:sldMk cId="2394793380" sldId="307"/>
            <ac:picMk id="26" creationId="{10FB99A8-4A9F-4EE5-9C29-AEDB31F6FFC7}"/>
          </ac:picMkLst>
        </pc:picChg>
        <pc:picChg chg="add del">
          <ac:chgData name="Kwok, Jeffrey" userId="fbec0761-eb99-44b1-8af3-ab907abe7c2d" providerId="ADAL" clId="{7EF0537D-2525-4632-8C9C-78F9870C483D}" dt="2020-03-20T03:37:53.302" v="970" actId="478"/>
          <ac:picMkLst>
            <pc:docMk/>
            <pc:sldMk cId="2394793380" sldId="307"/>
            <ac:picMk id="28" creationId="{8EC6D010-D659-4E2B-851E-6CB6F604BAC6}"/>
          </ac:picMkLst>
        </pc:picChg>
        <pc:picChg chg="add del">
          <ac:chgData name="Kwok, Jeffrey" userId="fbec0761-eb99-44b1-8af3-ab907abe7c2d" providerId="ADAL" clId="{7EF0537D-2525-4632-8C9C-78F9870C483D}" dt="2020-03-20T03:37:53.302" v="970" actId="478"/>
          <ac:picMkLst>
            <pc:docMk/>
            <pc:sldMk cId="2394793380" sldId="307"/>
            <ac:picMk id="29" creationId="{BD5909A9-4F77-47A8-8761-1FE10F1A9EDB}"/>
          </ac:picMkLst>
        </pc:picChg>
        <pc:picChg chg="add del">
          <ac:chgData name="Kwok, Jeffrey" userId="fbec0761-eb99-44b1-8af3-ab907abe7c2d" providerId="ADAL" clId="{7EF0537D-2525-4632-8C9C-78F9870C483D}" dt="2020-03-20T03:37:53.302" v="970" actId="478"/>
          <ac:picMkLst>
            <pc:docMk/>
            <pc:sldMk cId="2394793380" sldId="307"/>
            <ac:picMk id="30" creationId="{EC0FD1F7-6895-46D5-920E-1346B3F36118}"/>
          </ac:picMkLst>
        </pc:picChg>
        <pc:picChg chg="add del">
          <ac:chgData name="Kwok, Jeffrey" userId="fbec0761-eb99-44b1-8af3-ab907abe7c2d" providerId="ADAL" clId="{7EF0537D-2525-4632-8C9C-78F9870C483D}" dt="2020-03-20T03:37:53.302" v="970" actId="478"/>
          <ac:picMkLst>
            <pc:docMk/>
            <pc:sldMk cId="2394793380" sldId="307"/>
            <ac:picMk id="31" creationId="{186B7823-9C05-491B-9398-7EF6A98BDAA2}"/>
          </ac:picMkLst>
        </pc:picChg>
        <pc:picChg chg="add">
          <ac:chgData name="Kwok, Jeffrey" userId="fbec0761-eb99-44b1-8af3-ab907abe7c2d" providerId="ADAL" clId="{7EF0537D-2525-4632-8C9C-78F9870C483D}" dt="2020-03-20T03:40:38.213" v="975"/>
          <ac:picMkLst>
            <pc:docMk/>
            <pc:sldMk cId="2394793380" sldId="307"/>
            <ac:picMk id="34" creationId="{1C6C37FC-B700-435E-84CB-8186A33FF30F}"/>
          </ac:picMkLst>
        </pc:picChg>
        <pc:picChg chg="add">
          <ac:chgData name="Kwok, Jeffrey" userId="fbec0761-eb99-44b1-8af3-ab907abe7c2d" providerId="ADAL" clId="{7EF0537D-2525-4632-8C9C-78F9870C483D}" dt="2020-03-20T03:40:38.213" v="975"/>
          <ac:picMkLst>
            <pc:docMk/>
            <pc:sldMk cId="2394793380" sldId="307"/>
            <ac:picMk id="35" creationId="{D3F500BC-93EA-4872-A50D-55C31E09EFD6}"/>
          </ac:picMkLst>
        </pc:picChg>
        <pc:picChg chg="add">
          <ac:chgData name="Kwok, Jeffrey" userId="fbec0761-eb99-44b1-8af3-ab907abe7c2d" providerId="ADAL" clId="{7EF0537D-2525-4632-8C9C-78F9870C483D}" dt="2020-03-20T03:40:38.213" v="975"/>
          <ac:picMkLst>
            <pc:docMk/>
            <pc:sldMk cId="2394793380" sldId="307"/>
            <ac:picMk id="36" creationId="{FB5D70F7-9A87-4934-BA96-D48BBCD48A13}"/>
          </ac:picMkLst>
        </pc:picChg>
        <pc:picChg chg="add">
          <ac:chgData name="Kwok, Jeffrey" userId="fbec0761-eb99-44b1-8af3-ab907abe7c2d" providerId="ADAL" clId="{7EF0537D-2525-4632-8C9C-78F9870C483D}" dt="2020-03-20T03:40:38.213" v="975"/>
          <ac:picMkLst>
            <pc:docMk/>
            <pc:sldMk cId="2394793380" sldId="307"/>
            <ac:picMk id="38" creationId="{0F1F67EE-56D7-498B-A960-4124A18238FB}"/>
          </ac:picMkLst>
        </pc:picChg>
        <pc:picChg chg="add">
          <ac:chgData name="Kwok, Jeffrey" userId="fbec0761-eb99-44b1-8af3-ab907abe7c2d" providerId="ADAL" clId="{7EF0537D-2525-4632-8C9C-78F9870C483D}" dt="2020-03-20T03:40:38.213" v="975"/>
          <ac:picMkLst>
            <pc:docMk/>
            <pc:sldMk cId="2394793380" sldId="307"/>
            <ac:picMk id="39" creationId="{2046BFD1-9BF7-4B31-BC4E-D350FD5996F1}"/>
          </ac:picMkLst>
        </pc:picChg>
        <pc:picChg chg="add">
          <ac:chgData name="Kwok, Jeffrey" userId="fbec0761-eb99-44b1-8af3-ab907abe7c2d" providerId="ADAL" clId="{7EF0537D-2525-4632-8C9C-78F9870C483D}" dt="2020-03-20T03:40:38.213" v="975"/>
          <ac:picMkLst>
            <pc:docMk/>
            <pc:sldMk cId="2394793380" sldId="307"/>
            <ac:picMk id="40" creationId="{BC249CA1-571D-4AD9-A354-16EFA0640EF1}"/>
          </ac:picMkLst>
        </pc:picChg>
        <pc:picChg chg="add mod">
          <ac:chgData name="Kwok, Jeffrey" userId="fbec0761-eb99-44b1-8af3-ab907abe7c2d" providerId="ADAL" clId="{7EF0537D-2525-4632-8C9C-78F9870C483D}" dt="2020-03-20T03:41:12.651" v="978" actId="1076"/>
          <ac:picMkLst>
            <pc:docMk/>
            <pc:sldMk cId="2394793380" sldId="307"/>
            <ac:picMk id="41" creationId="{040122F8-2352-4F42-9421-C4729000DE92}"/>
          </ac:picMkLst>
        </pc:picChg>
      </pc:sldChg>
      <pc:sldChg chg="del">
        <pc:chgData name="Kwok, Jeffrey" userId="fbec0761-eb99-44b1-8af3-ab907abe7c2d" providerId="ADAL" clId="{7EF0537D-2525-4632-8C9C-78F9870C483D}" dt="2020-03-20T02:10:05.373" v="249" actId="2696"/>
        <pc:sldMkLst>
          <pc:docMk/>
          <pc:sldMk cId="2705165879" sldId="308"/>
        </pc:sldMkLst>
      </pc:sldChg>
      <pc:sldChg chg="addSp delSp modSp add del">
        <pc:chgData name="Kwok, Jeffrey" userId="fbec0761-eb99-44b1-8af3-ab907abe7c2d" providerId="ADAL" clId="{7EF0537D-2525-4632-8C9C-78F9870C483D}" dt="2020-03-20T02:37:55.742" v="622" actId="1076"/>
        <pc:sldMkLst>
          <pc:docMk/>
          <pc:sldMk cId="2596422118" sldId="309"/>
        </pc:sldMkLst>
        <pc:spChg chg="del">
          <ac:chgData name="Kwok, Jeffrey" userId="fbec0761-eb99-44b1-8af3-ab907abe7c2d" providerId="ADAL" clId="{7EF0537D-2525-4632-8C9C-78F9870C483D}" dt="2020-03-20T02:10:08.613" v="250" actId="478"/>
          <ac:spMkLst>
            <pc:docMk/>
            <pc:sldMk cId="2596422118" sldId="309"/>
            <ac:spMk id="5" creationId="{E9139430-7A10-41E8-8672-EC65F71B568E}"/>
          </ac:spMkLst>
        </pc:spChg>
        <pc:spChg chg="mod">
          <ac:chgData name="Kwok, Jeffrey" userId="fbec0761-eb99-44b1-8af3-ab907abe7c2d" providerId="ADAL" clId="{7EF0537D-2525-4632-8C9C-78F9870C483D}" dt="2020-03-20T02:37:44.008" v="597" actId="20577"/>
          <ac:spMkLst>
            <pc:docMk/>
            <pc:sldMk cId="2596422118" sldId="309"/>
            <ac:spMk id="7" creationId="{D7903B0A-C96B-41D0-8272-1E599D44A95D}"/>
          </ac:spMkLst>
        </pc:spChg>
        <pc:spChg chg="del mod">
          <ac:chgData name="Kwok, Jeffrey" userId="fbec0761-eb99-44b1-8af3-ab907abe7c2d" providerId="ADAL" clId="{7EF0537D-2525-4632-8C9C-78F9870C483D}" dt="2020-03-20T02:28:56.725" v="438" actId="478"/>
          <ac:spMkLst>
            <pc:docMk/>
            <pc:sldMk cId="2596422118" sldId="309"/>
            <ac:spMk id="8" creationId="{6390F593-5623-4A34-A97D-B347E3602C60}"/>
          </ac:spMkLst>
        </pc:spChg>
        <pc:spChg chg="add mod">
          <ac:chgData name="Kwok, Jeffrey" userId="fbec0761-eb99-44b1-8af3-ab907abe7c2d" providerId="ADAL" clId="{7EF0537D-2525-4632-8C9C-78F9870C483D}" dt="2020-03-20T02:29:03.862" v="440" actId="14100"/>
          <ac:spMkLst>
            <pc:docMk/>
            <pc:sldMk cId="2596422118" sldId="309"/>
            <ac:spMk id="10" creationId="{D00C613B-7A36-4F9E-BEB8-BB983932CCF9}"/>
          </ac:spMkLst>
        </pc:spChg>
        <pc:spChg chg="add mod">
          <ac:chgData name="Kwok, Jeffrey" userId="fbec0761-eb99-44b1-8af3-ab907abe7c2d" providerId="ADAL" clId="{7EF0537D-2525-4632-8C9C-78F9870C483D}" dt="2020-03-20T02:37:52.025" v="621" actId="20577"/>
          <ac:spMkLst>
            <pc:docMk/>
            <pc:sldMk cId="2596422118" sldId="309"/>
            <ac:spMk id="12" creationId="{79908F8E-24EC-4C31-85C7-54DDEB8FF998}"/>
          </ac:spMkLst>
        </pc:spChg>
        <pc:picChg chg="add del mod">
          <ac:chgData name="Kwok, Jeffrey" userId="fbec0761-eb99-44b1-8af3-ab907abe7c2d" providerId="ADAL" clId="{7EF0537D-2525-4632-8C9C-78F9870C483D}" dt="2020-03-20T02:36:12.873" v="479" actId="478"/>
          <ac:picMkLst>
            <pc:docMk/>
            <pc:sldMk cId="2596422118" sldId="309"/>
            <ac:picMk id="1026" creationId="{8779D03F-87BE-4E1A-A3B2-8BBF279845B8}"/>
          </ac:picMkLst>
        </pc:picChg>
        <pc:picChg chg="add del">
          <ac:chgData name="Kwok, Jeffrey" userId="fbec0761-eb99-44b1-8af3-ab907abe7c2d" providerId="ADAL" clId="{7EF0537D-2525-4632-8C9C-78F9870C483D}" dt="2020-03-20T02:28:21.204" v="432"/>
          <ac:picMkLst>
            <pc:docMk/>
            <pc:sldMk cId="2596422118" sldId="309"/>
            <ac:picMk id="1028" creationId="{3DBCB26A-A806-4043-8041-72070ABB78B4}"/>
          </ac:picMkLst>
        </pc:picChg>
        <pc:picChg chg="add mod">
          <ac:chgData name="Kwok, Jeffrey" userId="fbec0761-eb99-44b1-8af3-ab907abe7c2d" providerId="ADAL" clId="{7EF0537D-2525-4632-8C9C-78F9870C483D}" dt="2020-03-20T02:37:55.742" v="622" actId="1076"/>
          <ac:picMkLst>
            <pc:docMk/>
            <pc:sldMk cId="2596422118" sldId="309"/>
            <ac:picMk id="1030" creationId="{A50C8D93-9BF5-4EE9-8AD3-99672CEED530}"/>
          </ac:picMkLst>
        </pc:picChg>
      </pc:sldChg>
      <pc:sldChg chg="addSp delSp modSp del">
        <pc:chgData name="Kwok, Jeffrey" userId="fbec0761-eb99-44b1-8af3-ab907abe7c2d" providerId="ADAL" clId="{7EF0537D-2525-4632-8C9C-78F9870C483D}" dt="2020-03-20T02:38:21.851" v="624" actId="2696"/>
        <pc:sldMkLst>
          <pc:docMk/>
          <pc:sldMk cId="3877843034" sldId="310"/>
        </pc:sldMkLst>
        <pc:spChg chg="del">
          <ac:chgData name="Kwok, Jeffrey" userId="fbec0761-eb99-44b1-8af3-ab907abe7c2d" providerId="ADAL" clId="{7EF0537D-2525-4632-8C9C-78F9870C483D}" dt="2020-03-20T02:23:00.498" v="382" actId="478"/>
          <ac:spMkLst>
            <pc:docMk/>
            <pc:sldMk cId="3877843034" sldId="310"/>
            <ac:spMk id="5" creationId="{E9139430-7A10-41E8-8672-EC65F71B568E}"/>
          </ac:spMkLst>
        </pc:spChg>
        <pc:spChg chg="mod">
          <ac:chgData name="Kwok, Jeffrey" userId="fbec0761-eb99-44b1-8af3-ab907abe7c2d" providerId="ADAL" clId="{7EF0537D-2525-4632-8C9C-78F9870C483D}" dt="2020-03-20T02:23:38.522" v="428" actId="20577"/>
          <ac:spMkLst>
            <pc:docMk/>
            <pc:sldMk cId="3877843034" sldId="310"/>
            <ac:spMk id="8" creationId="{6390F593-5623-4A34-A97D-B347E3602C60}"/>
          </ac:spMkLst>
        </pc:spChg>
        <pc:spChg chg="add del mod">
          <ac:chgData name="Kwok, Jeffrey" userId="fbec0761-eb99-44b1-8af3-ab907abe7c2d" providerId="ADAL" clId="{7EF0537D-2525-4632-8C9C-78F9870C483D}" dt="2020-03-20T02:23:02.824" v="383" actId="478"/>
          <ac:spMkLst>
            <pc:docMk/>
            <pc:sldMk cId="3877843034" sldId="310"/>
            <ac:spMk id="10" creationId="{10992063-22F8-4060-A44A-197A958EE06E}"/>
          </ac:spMkLst>
        </pc:spChg>
        <pc:picChg chg="add">
          <ac:chgData name="Kwok, Jeffrey" userId="fbec0761-eb99-44b1-8af3-ab907abe7c2d" providerId="ADAL" clId="{7EF0537D-2525-4632-8C9C-78F9870C483D}" dt="2020-03-20T02:23:03.258" v="384"/>
          <ac:picMkLst>
            <pc:docMk/>
            <pc:sldMk cId="3877843034" sldId="310"/>
            <ac:picMk id="11" creationId="{3F701C83-905B-48F9-A925-BA89700D91DF}"/>
          </ac:picMkLst>
        </pc:picChg>
      </pc:sldChg>
      <pc:sldChg chg="del">
        <pc:chgData name="Kwok, Jeffrey" userId="fbec0761-eb99-44b1-8af3-ab907abe7c2d" providerId="ADAL" clId="{7EF0537D-2525-4632-8C9C-78F9870C483D}" dt="2020-03-20T02:48:12.606" v="943" actId="2696"/>
        <pc:sldMkLst>
          <pc:docMk/>
          <pc:sldMk cId="1336483110" sldId="311"/>
        </pc:sldMkLst>
      </pc:sldChg>
      <pc:sldChg chg="del">
        <pc:chgData name="Kwok, Jeffrey" userId="fbec0761-eb99-44b1-8af3-ab907abe7c2d" providerId="ADAL" clId="{7EF0537D-2525-4632-8C9C-78F9870C483D}" dt="2020-03-20T02:48:12.625" v="944" actId="2696"/>
        <pc:sldMkLst>
          <pc:docMk/>
          <pc:sldMk cId="3021909468" sldId="312"/>
        </pc:sldMkLst>
      </pc:sldChg>
      <pc:sldChg chg="del">
        <pc:chgData name="Kwok, Jeffrey" userId="fbec0761-eb99-44b1-8af3-ab907abe7c2d" providerId="ADAL" clId="{7EF0537D-2525-4632-8C9C-78F9870C483D}" dt="2020-03-20T02:48:12.644" v="945" actId="2696"/>
        <pc:sldMkLst>
          <pc:docMk/>
          <pc:sldMk cId="2711782990" sldId="313"/>
        </pc:sldMkLst>
      </pc:sldChg>
      <pc:sldChg chg="del">
        <pc:chgData name="Kwok, Jeffrey" userId="fbec0761-eb99-44b1-8af3-ab907abe7c2d" providerId="ADAL" clId="{7EF0537D-2525-4632-8C9C-78F9870C483D}" dt="2020-03-20T02:48:12.660" v="946" actId="2696"/>
        <pc:sldMkLst>
          <pc:docMk/>
          <pc:sldMk cId="3082341385" sldId="314"/>
        </pc:sldMkLst>
      </pc:sldChg>
      <pc:sldChg chg="del">
        <pc:chgData name="Kwok, Jeffrey" userId="fbec0761-eb99-44b1-8af3-ab907abe7c2d" providerId="ADAL" clId="{7EF0537D-2525-4632-8C9C-78F9870C483D}" dt="2020-03-20T02:48:12.675" v="947" actId="2696"/>
        <pc:sldMkLst>
          <pc:docMk/>
          <pc:sldMk cId="23700907" sldId="316"/>
        </pc:sldMkLst>
      </pc:sldChg>
      <pc:sldChg chg="del">
        <pc:chgData name="Kwok, Jeffrey" userId="fbec0761-eb99-44b1-8af3-ab907abe7c2d" providerId="ADAL" clId="{7EF0537D-2525-4632-8C9C-78F9870C483D}" dt="2020-03-20T02:48:12.724" v="949" actId="2696"/>
        <pc:sldMkLst>
          <pc:docMk/>
          <pc:sldMk cId="1012632136" sldId="317"/>
        </pc:sldMkLst>
      </pc:sldChg>
      <pc:sldChg chg="del">
        <pc:chgData name="Kwok, Jeffrey" userId="fbec0761-eb99-44b1-8af3-ab907abe7c2d" providerId="ADAL" clId="{7EF0537D-2525-4632-8C9C-78F9870C483D}" dt="2020-03-20T02:48:12.747" v="950" actId="2696"/>
        <pc:sldMkLst>
          <pc:docMk/>
          <pc:sldMk cId="3499963966" sldId="318"/>
        </pc:sldMkLst>
      </pc:sldChg>
      <pc:sldChg chg="del">
        <pc:chgData name="Kwok, Jeffrey" userId="fbec0761-eb99-44b1-8af3-ab907abe7c2d" providerId="ADAL" clId="{7EF0537D-2525-4632-8C9C-78F9870C483D}" dt="2020-03-20T02:48:12.769" v="951" actId="2696"/>
        <pc:sldMkLst>
          <pc:docMk/>
          <pc:sldMk cId="1218153826" sldId="319"/>
        </pc:sldMkLst>
      </pc:sldChg>
      <pc:sldChg chg="del">
        <pc:chgData name="Kwok, Jeffrey" userId="fbec0761-eb99-44b1-8af3-ab907abe7c2d" providerId="ADAL" clId="{7EF0537D-2525-4632-8C9C-78F9870C483D}" dt="2020-03-20T02:48:12.793" v="952" actId="2696"/>
        <pc:sldMkLst>
          <pc:docMk/>
          <pc:sldMk cId="3659614919" sldId="320"/>
        </pc:sldMkLst>
      </pc:sldChg>
      <pc:sldChg chg="del">
        <pc:chgData name="Kwok, Jeffrey" userId="fbec0761-eb99-44b1-8af3-ab907abe7c2d" providerId="ADAL" clId="{7EF0537D-2525-4632-8C9C-78F9870C483D}" dt="2020-03-20T02:48:12.808" v="953" actId="2696"/>
        <pc:sldMkLst>
          <pc:docMk/>
          <pc:sldMk cId="1129021275" sldId="321"/>
        </pc:sldMkLst>
      </pc:sldChg>
      <pc:sldChg chg="del">
        <pc:chgData name="Kwok, Jeffrey" userId="fbec0761-eb99-44b1-8af3-ab907abe7c2d" providerId="ADAL" clId="{7EF0537D-2525-4632-8C9C-78F9870C483D}" dt="2020-03-20T02:48:12.849" v="955" actId="2696"/>
        <pc:sldMkLst>
          <pc:docMk/>
          <pc:sldMk cId="3814974627" sldId="322"/>
        </pc:sldMkLst>
      </pc:sldChg>
      <pc:sldChg chg="del">
        <pc:chgData name="Kwok, Jeffrey" userId="fbec0761-eb99-44b1-8af3-ab907abe7c2d" providerId="ADAL" clId="{7EF0537D-2525-4632-8C9C-78F9870C483D}" dt="2020-03-20T02:48:12.870" v="956" actId="2696"/>
        <pc:sldMkLst>
          <pc:docMk/>
          <pc:sldMk cId="1879748201" sldId="323"/>
        </pc:sldMkLst>
      </pc:sldChg>
      <pc:sldChg chg="del">
        <pc:chgData name="Kwok, Jeffrey" userId="fbec0761-eb99-44b1-8af3-ab907abe7c2d" providerId="ADAL" clId="{7EF0537D-2525-4632-8C9C-78F9870C483D}" dt="2020-03-20T02:48:12.886" v="957" actId="2696"/>
        <pc:sldMkLst>
          <pc:docMk/>
          <pc:sldMk cId="3462457897" sldId="324"/>
        </pc:sldMkLst>
      </pc:sldChg>
      <pc:sldChg chg="del">
        <pc:chgData name="Kwok, Jeffrey" userId="fbec0761-eb99-44b1-8af3-ab907abe7c2d" providerId="ADAL" clId="{7EF0537D-2525-4632-8C9C-78F9870C483D}" dt="2020-03-20T02:48:12.916" v="959" actId="2696"/>
        <pc:sldMkLst>
          <pc:docMk/>
          <pc:sldMk cId="2568438753" sldId="327"/>
        </pc:sldMkLst>
      </pc:sldChg>
      <pc:sldChg chg="modSp">
        <pc:chgData name="Kwok, Jeffrey" userId="fbec0761-eb99-44b1-8af3-ab907abe7c2d" providerId="ADAL" clId="{7EF0537D-2525-4632-8C9C-78F9870C483D}" dt="2020-03-20T02:01:28.002" v="170" actId="20577"/>
        <pc:sldMkLst>
          <pc:docMk/>
          <pc:sldMk cId="3142882466" sldId="329"/>
        </pc:sldMkLst>
        <pc:spChg chg="mod">
          <ac:chgData name="Kwok, Jeffrey" userId="fbec0761-eb99-44b1-8af3-ab907abe7c2d" providerId="ADAL" clId="{7EF0537D-2525-4632-8C9C-78F9870C483D}" dt="2020-03-20T02:01:28.002" v="170" actId="20577"/>
          <ac:spMkLst>
            <pc:docMk/>
            <pc:sldMk cId="3142882466" sldId="329"/>
            <ac:spMk id="7" creationId="{760660EC-DD8E-488D-BA3D-FE37FAF7963E}"/>
          </ac:spMkLst>
        </pc:spChg>
      </pc:sldChg>
      <pc:sldChg chg="addSp delSp modSp">
        <pc:chgData name="Kwok, Jeffrey" userId="fbec0761-eb99-44b1-8af3-ab907abe7c2d" providerId="ADAL" clId="{7EF0537D-2525-4632-8C9C-78F9870C483D}" dt="2020-03-20T02:16:07.130" v="328"/>
        <pc:sldMkLst>
          <pc:docMk/>
          <pc:sldMk cId="4160873745" sldId="330"/>
        </pc:sldMkLst>
        <pc:spChg chg="mod">
          <ac:chgData name="Kwok, Jeffrey" userId="fbec0761-eb99-44b1-8af3-ab907abe7c2d" providerId="ADAL" clId="{7EF0537D-2525-4632-8C9C-78F9870C483D}" dt="2020-03-20T02:15:52.184" v="325" actId="6549"/>
          <ac:spMkLst>
            <pc:docMk/>
            <pc:sldMk cId="4160873745" sldId="330"/>
            <ac:spMk id="7" creationId="{0A3C684A-AA2C-4627-AF01-01B9E7DF4D25}"/>
          </ac:spMkLst>
        </pc:spChg>
        <pc:picChg chg="add del">
          <ac:chgData name="Kwok, Jeffrey" userId="fbec0761-eb99-44b1-8af3-ab907abe7c2d" providerId="ADAL" clId="{7EF0537D-2525-4632-8C9C-78F9870C483D}" dt="2020-03-20T02:16:07.130" v="328"/>
          <ac:picMkLst>
            <pc:docMk/>
            <pc:sldMk cId="4160873745" sldId="330"/>
            <ac:picMk id="2050" creationId="{763DF766-D783-43D6-9537-8F1430FDC732}"/>
          </ac:picMkLst>
        </pc:picChg>
      </pc:sldChg>
      <pc:sldChg chg="del">
        <pc:chgData name="Kwok, Jeffrey" userId="fbec0761-eb99-44b1-8af3-ab907abe7c2d" providerId="ADAL" clId="{7EF0537D-2525-4632-8C9C-78F9870C483D}" dt="2020-03-20T02:48:12.588" v="942" actId="2696"/>
        <pc:sldMkLst>
          <pc:docMk/>
          <pc:sldMk cId="1126793262" sldId="331"/>
        </pc:sldMkLst>
      </pc:sldChg>
      <pc:sldChg chg="del">
        <pc:chgData name="Kwok, Jeffrey" userId="fbec0761-eb99-44b1-8af3-ab907abe7c2d" providerId="ADAL" clId="{7EF0537D-2525-4632-8C9C-78F9870C483D}" dt="2020-03-20T02:48:12.703" v="948" actId="2696"/>
        <pc:sldMkLst>
          <pc:docMk/>
          <pc:sldMk cId="1753859856" sldId="332"/>
        </pc:sldMkLst>
      </pc:sldChg>
      <pc:sldChg chg="del">
        <pc:chgData name="Kwok, Jeffrey" userId="fbec0761-eb99-44b1-8af3-ab907abe7c2d" providerId="ADAL" clId="{7EF0537D-2525-4632-8C9C-78F9870C483D}" dt="2020-03-20T02:48:12.829" v="954" actId="2696"/>
        <pc:sldMkLst>
          <pc:docMk/>
          <pc:sldMk cId="1532075273" sldId="333"/>
        </pc:sldMkLst>
      </pc:sldChg>
      <pc:sldChg chg="del">
        <pc:chgData name="Kwok, Jeffrey" userId="fbec0761-eb99-44b1-8af3-ab907abe7c2d" providerId="ADAL" clId="{7EF0537D-2525-4632-8C9C-78F9870C483D}" dt="2020-03-20T02:48:12.901" v="958" actId="2696"/>
        <pc:sldMkLst>
          <pc:docMk/>
          <pc:sldMk cId="1781772274" sldId="334"/>
        </pc:sldMkLst>
      </pc:sldChg>
      <pc:sldChg chg="addSp delSp modSp add mod modAnim">
        <pc:chgData name="Kwok, Jeffrey" userId="fbec0761-eb99-44b1-8af3-ab907abe7c2d" providerId="ADAL" clId="{7EF0537D-2525-4632-8C9C-78F9870C483D}" dt="2020-03-20T05:02:21.991" v="1134" actId="27918"/>
        <pc:sldMkLst>
          <pc:docMk/>
          <pc:sldMk cId="3698415612" sldId="335"/>
        </pc:sldMkLst>
        <pc:spChg chg="mod">
          <ac:chgData name="Kwok, Jeffrey" userId="fbec0761-eb99-44b1-8af3-ab907abe7c2d" providerId="ADAL" clId="{7EF0537D-2525-4632-8C9C-78F9870C483D}" dt="2020-03-20T02:09:30.150" v="210" actId="20577"/>
          <ac:spMkLst>
            <pc:docMk/>
            <pc:sldMk cId="3698415612" sldId="335"/>
            <ac:spMk id="7" creationId="{D7903B0A-C96B-41D0-8272-1E599D44A95D}"/>
          </ac:spMkLst>
        </pc:spChg>
        <pc:spChg chg="add">
          <ac:chgData name="Kwok, Jeffrey" userId="fbec0761-eb99-44b1-8af3-ab907abe7c2d" providerId="ADAL" clId="{7EF0537D-2525-4632-8C9C-78F9870C483D}" dt="2020-03-20T03:41:55.299" v="981"/>
          <ac:spMkLst>
            <pc:docMk/>
            <pc:sldMk cId="3698415612" sldId="335"/>
            <ac:spMk id="14" creationId="{42E04386-BD00-4D39-8868-DDDB65F5465E}"/>
          </ac:spMkLst>
        </pc:spChg>
        <pc:spChg chg="add mod">
          <ac:chgData name="Kwok, Jeffrey" userId="fbec0761-eb99-44b1-8af3-ab907abe7c2d" providerId="ADAL" clId="{7EF0537D-2525-4632-8C9C-78F9870C483D}" dt="2020-03-20T05:01:34.672" v="1124" actId="1076"/>
          <ac:spMkLst>
            <pc:docMk/>
            <pc:sldMk cId="3698415612" sldId="335"/>
            <ac:spMk id="21" creationId="{CE270C22-C17E-43DC-899B-1E8E060C44BA}"/>
          </ac:spMkLst>
        </pc:spChg>
        <pc:spChg chg="add mod">
          <ac:chgData name="Kwok, Jeffrey" userId="fbec0761-eb99-44b1-8af3-ab907abe7c2d" providerId="ADAL" clId="{7EF0537D-2525-4632-8C9C-78F9870C483D}" dt="2020-03-20T05:01:42.469" v="1126" actId="1076"/>
          <ac:spMkLst>
            <pc:docMk/>
            <pc:sldMk cId="3698415612" sldId="335"/>
            <ac:spMk id="22" creationId="{ADCC6418-03A5-4881-9B37-3DE1BC7F45F0}"/>
          </ac:spMkLst>
        </pc:spChg>
        <pc:graphicFrameChg chg="add mod">
          <ac:chgData name="Kwok, Jeffrey" userId="fbec0761-eb99-44b1-8af3-ab907abe7c2d" providerId="ADAL" clId="{7EF0537D-2525-4632-8C9C-78F9870C483D}" dt="2020-03-20T05:02:16.616" v="1133"/>
          <ac:graphicFrameMkLst>
            <pc:docMk/>
            <pc:sldMk cId="3698415612" sldId="335"/>
            <ac:graphicFrameMk id="10" creationId="{C25FA767-4AA1-47DA-BBEF-8E879F4B993C}"/>
          </ac:graphicFrameMkLst>
        </pc:graphicFrameChg>
        <pc:graphicFrameChg chg="add del">
          <ac:chgData name="Kwok, Jeffrey" userId="fbec0761-eb99-44b1-8af3-ab907abe7c2d" providerId="ADAL" clId="{7EF0537D-2525-4632-8C9C-78F9870C483D}" dt="2020-03-20T04:57:01.288" v="1081"/>
          <ac:graphicFrameMkLst>
            <pc:docMk/>
            <pc:sldMk cId="3698415612" sldId="335"/>
            <ac:graphicFrameMk id="19" creationId="{037346AF-A201-40BB-83AC-7125C398BBFE}"/>
          </ac:graphicFrameMkLst>
        </pc:graphicFrameChg>
        <pc:graphicFrameChg chg="add del">
          <ac:chgData name="Kwok, Jeffrey" userId="fbec0761-eb99-44b1-8af3-ab907abe7c2d" providerId="ADAL" clId="{7EF0537D-2525-4632-8C9C-78F9870C483D}" dt="2020-03-20T04:57:10.762" v="1083"/>
          <ac:graphicFrameMkLst>
            <pc:docMk/>
            <pc:sldMk cId="3698415612" sldId="335"/>
            <ac:graphicFrameMk id="20" creationId="{E3E4C68C-8E91-494C-9860-880EE1244010}"/>
          </ac:graphicFrameMkLst>
        </pc:graphicFrameChg>
        <pc:picChg chg="del">
          <ac:chgData name="Kwok, Jeffrey" userId="fbec0761-eb99-44b1-8af3-ab907abe7c2d" providerId="ADAL" clId="{7EF0537D-2525-4632-8C9C-78F9870C483D}" dt="2020-03-20T02:09:35.830" v="211" actId="478"/>
          <ac:picMkLst>
            <pc:docMk/>
            <pc:sldMk cId="3698415612" sldId="335"/>
            <ac:picMk id="9" creationId="{11CB3934-EB5D-432B-8271-33ADD7847C46}"/>
          </ac:picMkLst>
        </pc:picChg>
        <pc:picChg chg="add del">
          <ac:chgData name="Kwok, Jeffrey" userId="fbec0761-eb99-44b1-8af3-ab907abe7c2d" providerId="ADAL" clId="{7EF0537D-2525-4632-8C9C-78F9870C483D}" dt="2020-03-20T03:42:48.862" v="1023" actId="478"/>
          <ac:picMkLst>
            <pc:docMk/>
            <pc:sldMk cId="3698415612" sldId="335"/>
            <ac:picMk id="11" creationId="{58C248E7-B189-41CE-99EF-AEEBF0CA0C75}"/>
          </ac:picMkLst>
        </pc:picChg>
        <pc:picChg chg="add del">
          <ac:chgData name="Kwok, Jeffrey" userId="fbec0761-eb99-44b1-8af3-ab907abe7c2d" providerId="ADAL" clId="{7EF0537D-2525-4632-8C9C-78F9870C483D}" dt="2020-03-20T04:50:51.742" v="1038" actId="478"/>
          <ac:picMkLst>
            <pc:docMk/>
            <pc:sldMk cId="3698415612" sldId="335"/>
            <ac:picMk id="12" creationId="{0610A646-C490-451E-8737-C4327FCD2C1C}"/>
          </ac:picMkLst>
        </pc:picChg>
        <pc:picChg chg="add del">
          <ac:chgData name="Kwok, Jeffrey" userId="fbec0761-eb99-44b1-8af3-ab907abe7c2d" providerId="ADAL" clId="{7EF0537D-2525-4632-8C9C-78F9870C483D}" dt="2020-03-20T03:42:42.917" v="1022" actId="478"/>
          <ac:picMkLst>
            <pc:docMk/>
            <pc:sldMk cId="3698415612" sldId="335"/>
            <ac:picMk id="13" creationId="{BD50BBFF-2A27-4F3B-B82C-98B737B011F4}"/>
          </ac:picMkLst>
        </pc:picChg>
        <pc:picChg chg="add del">
          <ac:chgData name="Kwok, Jeffrey" userId="fbec0761-eb99-44b1-8af3-ab907abe7c2d" providerId="ADAL" clId="{7EF0537D-2525-4632-8C9C-78F9870C483D}" dt="2020-03-20T04:50:50.357" v="1037" actId="478"/>
          <ac:picMkLst>
            <pc:docMk/>
            <pc:sldMk cId="3698415612" sldId="335"/>
            <ac:picMk id="15" creationId="{82E02A94-195A-4319-952F-2F3BCAD150EB}"/>
          </ac:picMkLst>
        </pc:picChg>
        <pc:picChg chg="add mod">
          <ac:chgData name="Kwok, Jeffrey" userId="fbec0761-eb99-44b1-8af3-ab907abe7c2d" providerId="ADAL" clId="{7EF0537D-2525-4632-8C9C-78F9870C483D}" dt="2020-03-20T04:58:13.202" v="1089" actId="1076"/>
          <ac:picMkLst>
            <pc:docMk/>
            <pc:sldMk cId="3698415612" sldId="335"/>
            <ac:picMk id="16" creationId="{C293EF32-A614-4DAC-B488-83AB1066A547}"/>
          </ac:picMkLst>
        </pc:picChg>
        <pc:picChg chg="add mod">
          <ac:chgData name="Kwok, Jeffrey" userId="fbec0761-eb99-44b1-8af3-ab907abe7c2d" providerId="ADAL" clId="{7EF0537D-2525-4632-8C9C-78F9870C483D}" dt="2020-03-20T05:01:37.782" v="1125" actId="1076"/>
          <ac:picMkLst>
            <pc:docMk/>
            <pc:sldMk cId="3698415612" sldId="335"/>
            <ac:picMk id="17" creationId="{BD4DAE02-6E26-43D6-8BFF-DDDA5BC29123}"/>
          </ac:picMkLst>
        </pc:picChg>
        <pc:picChg chg="add mod">
          <ac:chgData name="Kwok, Jeffrey" userId="fbec0761-eb99-44b1-8af3-ab907abe7c2d" providerId="ADAL" clId="{7EF0537D-2525-4632-8C9C-78F9870C483D}" dt="2020-03-20T04:56:21.117" v="1078" actId="1076"/>
          <ac:picMkLst>
            <pc:docMk/>
            <pc:sldMk cId="3698415612" sldId="335"/>
            <ac:picMk id="18" creationId="{D7A911B2-F5BF-4A04-81C6-1F2028738547}"/>
          </ac:picMkLst>
        </pc:picChg>
      </pc:sldChg>
      <pc:sldChg chg="modSp add">
        <pc:chgData name="Kwok, Jeffrey" userId="fbec0761-eb99-44b1-8af3-ab907abe7c2d" providerId="ADAL" clId="{7EF0537D-2525-4632-8C9C-78F9870C483D}" dt="2020-03-20T02:36:07.714" v="476" actId="20577"/>
        <pc:sldMkLst>
          <pc:docMk/>
          <pc:sldMk cId="3199416921" sldId="336"/>
        </pc:sldMkLst>
        <pc:spChg chg="mod">
          <ac:chgData name="Kwok, Jeffrey" userId="fbec0761-eb99-44b1-8af3-ab907abe7c2d" providerId="ADAL" clId="{7EF0537D-2525-4632-8C9C-78F9870C483D}" dt="2020-03-20T02:36:07.714" v="476" actId="20577"/>
          <ac:spMkLst>
            <pc:docMk/>
            <pc:sldMk cId="3199416921" sldId="336"/>
            <ac:spMk id="7" creationId="{0A3C684A-AA2C-4627-AF01-01B9E7DF4D25}"/>
          </ac:spMkLst>
        </pc:spChg>
      </pc:sldChg>
      <pc:sldChg chg="addSp delSp modSp add">
        <pc:chgData name="Kwok, Jeffrey" userId="fbec0761-eb99-44b1-8af3-ab907abe7c2d" providerId="ADAL" clId="{7EF0537D-2525-4632-8C9C-78F9870C483D}" dt="2020-03-20T02:18:03.354" v="360" actId="113"/>
        <pc:sldMkLst>
          <pc:docMk/>
          <pc:sldMk cId="820448716" sldId="337"/>
        </pc:sldMkLst>
        <pc:spChg chg="del">
          <ac:chgData name="Kwok, Jeffrey" userId="fbec0761-eb99-44b1-8af3-ab907abe7c2d" providerId="ADAL" clId="{7EF0537D-2525-4632-8C9C-78F9870C483D}" dt="2020-03-20T02:16:16.453" v="331"/>
          <ac:spMkLst>
            <pc:docMk/>
            <pc:sldMk cId="820448716" sldId="337"/>
            <ac:spMk id="5" creationId="{B34AAEE0-A07E-45C9-BF4E-0492A4D9ABB3}"/>
          </ac:spMkLst>
        </pc:spChg>
        <pc:spChg chg="del">
          <ac:chgData name="Kwok, Jeffrey" userId="fbec0761-eb99-44b1-8af3-ab907abe7c2d" providerId="ADAL" clId="{7EF0537D-2525-4632-8C9C-78F9870C483D}" dt="2020-03-20T02:16:12.344" v="330" actId="478"/>
          <ac:spMkLst>
            <pc:docMk/>
            <pc:sldMk cId="820448716" sldId="337"/>
            <ac:spMk id="6" creationId="{B657F6A3-E578-4D04-97BB-10A5CE4E3DDA}"/>
          </ac:spMkLst>
        </pc:spChg>
        <pc:spChg chg="del">
          <ac:chgData name="Kwok, Jeffrey" userId="fbec0761-eb99-44b1-8af3-ab907abe7c2d" providerId="ADAL" clId="{7EF0537D-2525-4632-8C9C-78F9870C483D}" dt="2020-03-20T02:16:10.736" v="329" actId="478"/>
          <ac:spMkLst>
            <pc:docMk/>
            <pc:sldMk cId="820448716" sldId="337"/>
            <ac:spMk id="7" creationId="{54C1083D-348E-47A3-A97A-692CEB095384}"/>
          </ac:spMkLst>
        </pc:spChg>
        <pc:spChg chg="add mod">
          <ac:chgData name="Kwok, Jeffrey" userId="fbec0761-eb99-44b1-8af3-ab907abe7c2d" providerId="ADAL" clId="{7EF0537D-2525-4632-8C9C-78F9870C483D}" dt="2020-03-20T02:16:22.601" v="344" actId="20577"/>
          <ac:spMkLst>
            <pc:docMk/>
            <pc:sldMk cId="820448716" sldId="337"/>
            <ac:spMk id="8" creationId="{71E9EE81-A5E2-47C6-8BFC-13A3FA56480F}"/>
          </ac:spMkLst>
        </pc:spChg>
        <pc:spChg chg="add del mod">
          <ac:chgData name="Kwok, Jeffrey" userId="fbec0761-eb99-44b1-8af3-ab907abe7c2d" providerId="ADAL" clId="{7EF0537D-2525-4632-8C9C-78F9870C483D}" dt="2020-03-20T02:17:55.767" v="358" actId="478"/>
          <ac:spMkLst>
            <pc:docMk/>
            <pc:sldMk cId="820448716" sldId="337"/>
            <ac:spMk id="9" creationId="{0E9D4E16-528D-4D21-A661-A2243E0BC8A1}"/>
          </ac:spMkLst>
        </pc:spChg>
        <pc:spChg chg="add mod">
          <ac:chgData name="Kwok, Jeffrey" userId="fbec0761-eb99-44b1-8af3-ab907abe7c2d" providerId="ADAL" clId="{7EF0537D-2525-4632-8C9C-78F9870C483D}" dt="2020-03-20T02:16:16.558" v="332" actId="27636"/>
          <ac:spMkLst>
            <pc:docMk/>
            <pc:sldMk cId="820448716" sldId="337"/>
            <ac:spMk id="10" creationId="{4F60440D-7CD1-435B-89B5-116E9A12112A}"/>
          </ac:spMkLst>
        </pc:spChg>
        <pc:spChg chg="add del mod">
          <ac:chgData name="Kwok, Jeffrey" userId="fbec0761-eb99-44b1-8af3-ab907abe7c2d" providerId="ADAL" clId="{7EF0537D-2525-4632-8C9C-78F9870C483D}" dt="2020-03-20T02:16:18.301" v="333"/>
          <ac:spMkLst>
            <pc:docMk/>
            <pc:sldMk cId="820448716" sldId="337"/>
            <ac:spMk id="11" creationId="{5E4AC695-36FC-4CFF-A730-CA2881141928}"/>
          </ac:spMkLst>
        </pc:spChg>
        <pc:spChg chg="add mod">
          <ac:chgData name="Kwok, Jeffrey" userId="fbec0761-eb99-44b1-8af3-ab907abe7c2d" providerId="ADAL" clId="{7EF0537D-2525-4632-8C9C-78F9870C483D}" dt="2020-03-20T02:18:03.354" v="360" actId="113"/>
          <ac:spMkLst>
            <pc:docMk/>
            <pc:sldMk cId="820448716" sldId="337"/>
            <ac:spMk id="13" creationId="{41B3BA2F-EA03-482C-A52C-E6845D96C39A}"/>
          </ac:spMkLst>
        </pc:spChg>
        <pc:picChg chg="add mod">
          <ac:chgData name="Kwok, Jeffrey" userId="fbec0761-eb99-44b1-8af3-ab907abe7c2d" providerId="ADAL" clId="{7EF0537D-2525-4632-8C9C-78F9870C483D}" dt="2020-03-20T02:17:39.572" v="350" actId="1076"/>
          <ac:picMkLst>
            <pc:docMk/>
            <pc:sldMk cId="820448716" sldId="337"/>
            <ac:picMk id="12" creationId="{7757DACC-FF07-45F6-A102-C2D9B250EA39}"/>
          </ac:picMkLst>
        </pc:picChg>
      </pc:sldChg>
      <pc:sldChg chg="addSp delSp modSp add del">
        <pc:chgData name="Kwok, Jeffrey" userId="fbec0761-eb99-44b1-8af3-ab907abe7c2d" providerId="ADAL" clId="{7EF0537D-2525-4632-8C9C-78F9870C483D}" dt="2020-03-20T02:38:27.732" v="625" actId="2696"/>
        <pc:sldMkLst>
          <pc:docMk/>
          <pc:sldMk cId="1238742173" sldId="338"/>
        </pc:sldMkLst>
        <pc:spChg chg="mod">
          <ac:chgData name="Kwok, Jeffrey" userId="fbec0761-eb99-44b1-8af3-ab907abe7c2d" providerId="ADAL" clId="{7EF0537D-2525-4632-8C9C-78F9870C483D}" dt="2020-03-20T02:18:45.176" v="373" actId="20577"/>
          <ac:spMkLst>
            <pc:docMk/>
            <pc:sldMk cId="1238742173" sldId="338"/>
            <ac:spMk id="5" creationId="{02CA9FA1-5C56-477B-AEF1-D2AF5ECA7606}"/>
          </ac:spMkLst>
        </pc:spChg>
        <pc:spChg chg="mod">
          <ac:chgData name="Kwok, Jeffrey" userId="fbec0761-eb99-44b1-8af3-ab907abe7c2d" providerId="ADAL" clId="{7EF0537D-2525-4632-8C9C-78F9870C483D}" dt="2020-03-20T02:18:28.559" v="362" actId="27636"/>
          <ac:spMkLst>
            <pc:docMk/>
            <pc:sldMk cId="1238742173" sldId="338"/>
            <ac:spMk id="7" creationId="{20026083-FB0B-4EAC-9611-50DD29E3E908}"/>
          </ac:spMkLst>
        </pc:spChg>
        <pc:spChg chg="del">
          <ac:chgData name="Kwok, Jeffrey" userId="fbec0761-eb99-44b1-8af3-ab907abe7c2d" providerId="ADAL" clId="{7EF0537D-2525-4632-8C9C-78F9870C483D}" dt="2020-03-20T02:18:47.505" v="374" actId="478"/>
          <ac:spMkLst>
            <pc:docMk/>
            <pc:sldMk cId="1238742173" sldId="338"/>
            <ac:spMk id="8" creationId="{45077F16-C6F3-4043-A77A-C0FB956F846B}"/>
          </ac:spMkLst>
        </pc:spChg>
        <pc:picChg chg="add del mod">
          <ac:chgData name="Kwok, Jeffrey" userId="fbec0761-eb99-44b1-8af3-ab907abe7c2d" providerId="ADAL" clId="{7EF0537D-2525-4632-8C9C-78F9870C483D}" dt="2020-03-20T02:19:37.784" v="381" actId="478"/>
          <ac:picMkLst>
            <pc:docMk/>
            <pc:sldMk cId="1238742173" sldId="338"/>
            <ac:picMk id="3074" creationId="{67086440-B640-43D8-BEDE-B2AE0FA75460}"/>
          </ac:picMkLst>
        </pc:picChg>
      </pc:sldChg>
      <pc:sldChg chg="addSp modSp add">
        <pc:chgData name="Kwok, Jeffrey" userId="fbec0761-eb99-44b1-8af3-ab907abe7c2d" providerId="ADAL" clId="{7EF0537D-2525-4632-8C9C-78F9870C483D}" dt="2020-03-20T02:38:10.165" v="623" actId="1076"/>
        <pc:sldMkLst>
          <pc:docMk/>
          <pc:sldMk cId="562718761" sldId="339"/>
        </pc:sldMkLst>
        <pc:spChg chg="mod">
          <ac:chgData name="Kwok, Jeffrey" userId="fbec0761-eb99-44b1-8af3-ab907abe7c2d" providerId="ADAL" clId="{7EF0537D-2525-4632-8C9C-78F9870C483D}" dt="2020-03-20T02:28:19.553" v="431" actId="27636"/>
          <ac:spMkLst>
            <pc:docMk/>
            <pc:sldMk cId="562718761" sldId="339"/>
            <ac:spMk id="6" creationId="{29A3EBD3-21ED-48A0-88D0-BB9EEA320DF3}"/>
          </ac:spMkLst>
        </pc:spChg>
        <pc:picChg chg="add mod">
          <ac:chgData name="Kwok, Jeffrey" userId="fbec0761-eb99-44b1-8af3-ab907abe7c2d" providerId="ADAL" clId="{7EF0537D-2525-4632-8C9C-78F9870C483D}" dt="2020-03-20T02:38:10.165" v="623" actId="1076"/>
          <ac:picMkLst>
            <pc:docMk/>
            <pc:sldMk cId="562718761" sldId="339"/>
            <ac:picMk id="9" creationId="{74D9B133-CBCB-4BA3-9CA7-16196EF4CA11}"/>
          </ac:picMkLst>
        </pc:picChg>
      </pc:sldChg>
      <pc:sldChg chg="add del">
        <pc:chgData name="Kwok, Jeffrey" userId="fbec0761-eb99-44b1-8af3-ab907abe7c2d" providerId="ADAL" clId="{7EF0537D-2525-4632-8C9C-78F9870C483D}" dt="2020-03-20T02:39:28.442" v="717"/>
        <pc:sldMkLst>
          <pc:docMk/>
          <pc:sldMk cId="5218205" sldId="340"/>
        </pc:sldMkLst>
      </pc:sldChg>
      <pc:sldChg chg="modSp add">
        <pc:chgData name="Kwok, Jeffrey" userId="fbec0761-eb99-44b1-8af3-ab907abe7c2d" providerId="ADAL" clId="{7EF0537D-2525-4632-8C9C-78F9870C483D}" dt="2020-03-20T02:39:36.325" v="737" actId="20577"/>
        <pc:sldMkLst>
          <pc:docMk/>
          <pc:sldMk cId="407423397" sldId="340"/>
        </pc:sldMkLst>
        <pc:spChg chg="mod">
          <ac:chgData name="Kwok, Jeffrey" userId="fbec0761-eb99-44b1-8af3-ab907abe7c2d" providerId="ADAL" clId="{7EF0537D-2525-4632-8C9C-78F9870C483D}" dt="2020-03-20T02:39:36.325" v="737" actId="20577"/>
          <ac:spMkLst>
            <pc:docMk/>
            <pc:sldMk cId="407423397" sldId="340"/>
            <ac:spMk id="7" creationId="{0A3C684A-AA2C-4627-AF01-01B9E7DF4D25}"/>
          </ac:spMkLst>
        </pc:spChg>
      </pc:sldChg>
      <pc:sldChg chg="addSp delSp modSp add">
        <pc:chgData name="Kwok, Jeffrey" userId="fbec0761-eb99-44b1-8af3-ab907abe7c2d" providerId="ADAL" clId="{7EF0537D-2525-4632-8C9C-78F9870C483D}" dt="2020-03-20T02:47:05.980" v="941" actId="1076"/>
        <pc:sldMkLst>
          <pc:docMk/>
          <pc:sldMk cId="3140035573" sldId="341"/>
        </pc:sldMkLst>
        <pc:spChg chg="del">
          <ac:chgData name="Kwok, Jeffrey" userId="fbec0761-eb99-44b1-8af3-ab907abe7c2d" providerId="ADAL" clId="{7EF0537D-2525-4632-8C9C-78F9870C483D}" dt="2020-03-20T02:39:46.476" v="739"/>
          <ac:spMkLst>
            <pc:docMk/>
            <pc:sldMk cId="3140035573" sldId="341"/>
            <ac:spMk id="5" creationId="{F2566F38-1E80-4BB8-9308-7EA6E22C2847}"/>
          </ac:spMkLst>
        </pc:spChg>
        <pc:spChg chg="del">
          <ac:chgData name="Kwok, Jeffrey" userId="fbec0761-eb99-44b1-8af3-ab907abe7c2d" providerId="ADAL" clId="{7EF0537D-2525-4632-8C9C-78F9870C483D}" dt="2020-03-20T02:39:46.476" v="739"/>
          <ac:spMkLst>
            <pc:docMk/>
            <pc:sldMk cId="3140035573" sldId="341"/>
            <ac:spMk id="6" creationId="{D21B94DD-6D5E-4B65-8779-BAF8EB571519}"/>
          </ac:spMkLst>
        </pc:spChg>
        <pc:spChg chg="mod">
          <ac:chgData name="Kwok, Jeffrey" userId="fbec0761-eb99-44b1-8af3-ab907abe7c2d" providerId="ADAL" clId="{7EF0537D-2525-4632-8C9C-78F9870C483D}" dt="2020-03-20T02:39:46.564" v="740" actId="27636"/>
          <ac:spMkLst>
            <pc:docMk/>
            <pc:sldMk cId="3140035573" sldId="341"/>
            <ac:spMk id="7" creationId="{0A3C684A-AA2C-4627-AF01-01B9E7DF4D25}"/>
          </ac:spMkLst>
        </pc:spChg>
        <pc:spChg chg="add mod">
          <ac:chgData name="Kwok, Jeffrey" userId="fbec0761-eb99-44b1-8af3-ab907abe7c2d" providerId="ADAL" clId="{7EF0537D-2525-4632-8C9C-78F9870C483D}" dt="2020-03-20T02:39:52.341" v="765" actId="20577"/>
          <ac:spMkLst>
            <pc:docMk/>
            <pc:sldMk cId="3140035573" sldId="341"/>
            <ac:spMk id="8" creationId="{F7BADB59-AC4B-458C-9E43-71294BA2438D}"/>
          </ac:spMkLst>
        </pc:spChg>
        <pc:spChg chg="add mod">
          <ac:chgData name="Kwok, Jeffrey" userId="fbec0761-eb99-44b1-8af3-ab907abe7c2d" providerId="ADAL" clId="{7EF0537D-2525-4632-8C9C-78F9870C483D}" dt="2020-03-20T02:39:46.476" v="739"/>
          <ac:spMkLst>
            <pc:docMk/>
            <pc:sldMk cId="3140035573" sldId="341"/>
            <ac:spMk id="9" creationId="{61F99B38-363E-4B1D-8CDA-477308BF7BCF}"/>
          </ac:spMkLst>
        </pc:spChg>
        <pc:spChg chg="add del mod">
          <ac:chgData name="Kwok, Jeffrey" userId="fbec0761-eb99-44b1-8af3-ab907abe7c2d" providerId="ADAL" clId="{7EF0537D-2525-4632-8C9C-78F9870C483D}" dt="2020-03-20T02:42:26.694" v="793" actId="478"/>
          <ac:spMkLst>
            <pc:docMk/>
            <pc:sldMk cId="3140035573" sldId="341"/>
            <ac:spMk id="10" creationId="{997620F5-4709-4ABE-8994-9E592809269E}"/>
          </ac:spMkLst>
        </pc:spChg>
        <pc:spChg chg="add del mod">
          <ac:chgData name="Kwok, Jeffrey" userId="fbec0761-eb99-44b1-8af3-ab907abe7c2d" providerId="ADAL" clId="{7EF0537D-2525-4632-8C9C-78F9870C483D}" dt="2020-03-20T02:42:36.190" v="794" actId="3680"/>
          <ac:spMkLst>
            <pc:docMk/>
            <pc:sldMk cId="3140035573" sldId="341"/>
            <ac:spMk id="12" creationId="{F1C41297-77A9-49FF-805C-FDED3378282C}"/>
          </ac:spMkLst>
        </pc:spChg>
        <pc:graphicFrameChg chg="add mod ord modGraphic">
          <ac:chgData name="Kwok, Jeffrey" userId="fbec0761-eb99-44b1-8af3-ab907abe7c2d" providerId="ADAL" clId="{7EF0537D-2525-4632-8C9C-78F9870C483D}" dt="2020-03-20T02:47:05.980" v="941" actId="1076"/>
          <ac:graphicFrameMkLst>
            <pc:docMk/>
            <pc:sldMk cId="3140035573" sldId="341"/>
            <ac:graphicFrameMk id="13" creationId="{BFBA255B-C1ED-4F7B-9365-36F06AF7D0EA}"/>
          </ac:graphicFrameMkLst>
        </pc:graphicFrameChg>
      </pc:sldChg>
      <pc:sldChg chg="addSp delSp modSp add del">
        <pc:chgData name="Kwok, Jeffrey" userId="fbec0761-eb99-44b1-8af3-ab907abe7c2d" providerId="ADAL" clId="{7EF0537D-2525-4632-8C9C-78F9870C483D}" dt="2020-03-20T04:59:54.680" v="1110" actId="2696"/>
        <pc:sldMkLst>
          <pc:docMk/>
          <pc:sldMk cId="148155719" sldId="894"/>
        </pc:sldMkLst>
        <pc:spChg chg="mod">
          <ac:chgData name="Kwok, Jeffrey" userId="fbec0761-eb99-44b1-8af3-ab907abe7c2d" providerId="ADAL" clId="{7EF0537D-2525-4632-8C9C-78F9870C483D}" dt="2020-03-20T03:38:11.474" v="972" actId="1076"/>
          <ac:spMkLst>
            <pc:docMk/>
            <pc:sldMk cId="148155719" sldId="894"/>
            <ac:spMk id="2" creationId="{3131DE38-C7DA-4DB7-8467-772EEF48417C}"/>
          </ac:spMkLst>
        </pc:spChg>
        <pc:spChg chg="add del">
          <ac:chgData name="Kwok, Jeffrey" userId="fbec0761-eb99-44b1-8af3-ab907abe7c2d" providerId="ADAL" clId="{7EF0537D-2525-4632-8C9C-78F9870C483D}" dt="2020-03-20T03:40:23.871" v="974"/>
          <ac:spMkLst>
            <pc:docMk/>
            <pc:sldMk cId="148155719" sldId="894"/>
            <ac:spMk id="14" creationId="{0DD8B891-8917-43DD-9BE2-49871901B227}"/>
          </ac:spMkLst>
        </pc:spChg>
      </pc:sldChg>
      <pc:sldMasterChg chg="delSldLayout">
        <pc:chgData name="Kwok, Jeffrey" userId="fbec0761-eb99-44b1-8af3-ab907abe7c2d" providerId="ADAL" clId="{7EF0537D-2525-4632-8C9C-78F9870C483D}" dt="2020-03-20T04:59:54.681" v="1111" actId="2696"/>
        <pc:sldMasterMkLst>
          <pc:docMk/>
          <pc:sldMasterMk cId="3198065842" sldId="2147483648"/>
        </pc:sldMasterMkLst>
        <pc:sldLayoutChg chg="del">
          <pc:chgData name="Kwok, Jeffrey" userId="fbec0761-eb99-44b1-8af3-ab907abe7c2d" providerId="ADAL" clId="{7EF0537D-2525-4632-8C9C-78F9870C483D}" dt="2020-03-20T04:59:54.681" v="1111" actId="2696"/>
          <pc:sldLayoutMkLst>
            <pc:docMk/>
            <pc:sldMasterMk cId="3198065842" sldId="2147483648"/>
            <pc:sldLayoutMk cId="3890314002" sldId="2147483705"/>
          </pc:sldLayoutMkLst>
        </pc:sldLayoutChg>
      </pc:sldMasterChg>
    </pc:docChg>
  </pc:docChgLst>
  <pc:docChgLst>
    <pc:chgData name="Minu, Adolphus" userId="84bc3493-e2f7-488b-b30a-d7990db68534" providerId="ADAL" clId="{36BCEFC4-5857-4A5D-8DB5-F0C9C3E88E9D}"/>
    <pc:docChg chg="undo custSel addSld delSld modSld">
      <pc:chgData name="Minu, Adolphus" userId="84bc3493-e2f7-488b-b30a-d7990db68534" providerId="ADAL" clId="{36BCEFC4-5857-4A5D-8DB5-F0C9C3E88E9D}" dt="2020-04-08T03:11:00.384" v="1887"/>
      <pc:docMkLst>
        <pc:docMk/>
      </pc:docMkLst>
      <pc:sldChg chg="modSp">
        <pc:chgData name="Minu, Adolphus" userId="84bc3493-e2f7-488b-b30a-d7990db68534" providerId="ADAL" clId="{36BCEFC4-5857-4A5D-8DB5-F0C9C3E88E9D}" dt="2020-04-06T04:50:08.323" v="1441" actId="20577"/>
        <pc:sldMkLst>
          <pc:docMk/>
          <pc:sldMk cId="1152484643" sldId="306"/>
        </pc:sldMkLst>
        <pc:spChg chg="mod">
          <ac:chgData name="Minu, Adolphus" userId="84bc3493-e2f7-488b-b30a-d7990db68534" providerId="ADAL" clId="{36BCEFC4-5857-4A5D-8DB5-F0C9C3E88E9D}" dt="2020-04-06T04:50:08.323" v="1441" actId="20577"/>
          <ac:spMkLst>
            <pc:docMk/>
            <pc:sldMk cId="1152484643" sldId="306"/>
            <ac:spMk id="5" creationId="{E32E54CC-9CF9-45B8-93A0-6263EF47440B}"/>
          </ac:spMkLst>
        </pc:spChg>
      </pc:sldChg>
      <pc:sldChg chg="modSp">
        <pc:chgData name="Minu, Adolphus" userId="84bc3493-e2f7-488b-b30a-d7990db68534" providerId="ADAL" clId="{36BCEFC4-5857-4A5D-8DB5-F0C9C3E88E9D}" dt="2020-04-08T03:11:00.384" v="1887"/>
        <pc:sldMkLst>
          <pc:docMk/>
          <pc:sldMk cId="2394793380" sldId="307"/>
        </pc:sldMkLst>
        <pc:spChg chg="mod">
          <ac:chgData name="Minu, Adolphus" userId="84bc3493-e2f7-488b-b30a-d7990db68534" providerId="ADAL" clId="{36BCEFC4-5857-4A5D-8DB5-F0C9C3E88E9D}" dt="2020-04-08T03:00:11.627" v="1867" actId="404"/>
          <ac:spMkLst>
            <pc:docMk/>
            <pc:sldMk cId="2394793380" sldId="307"/>
            <ac:spMk id="2" creationId="{A938779E-887F-4E6C-A960-1A93E6C11BAD}"/>
          </ac:spMkLst>
        </pc:spChg>
        <pc:spChg chg="mod">
          <ac:chgData name="Minu, Adolphus" userId="84bc3493-e2f7-488b-b30a-d7990db68534" providerId="ADAL" clId="{36BCEFC4-5857-4A5D-8DB5-F0C9C3E88E9D}" dt="2020-04-08T03:00:11.627" v="1867" actId="404"/>
          <ac:spMkLst>
            <pc:docMk/>
            <pc:sldMk cId="2394793380" sldId="307"/>
            <ac:spMk id="3" creationId="{A6DA91F9-FCB7-4743-8350-DE8C8243C07D}"/>
          </ac:spMkLst>
        </pc:spChg>
        <pc:spChg chg="mod">
          <ac:chgData name="Minu, Adolphus" userId="84bc3493-e2f7-488b-b30a-d7990db68534" providerId="ADAL" clId="{36BCEFC4-5857-4A5D-8DB5-F0C9C3E88E9D}" dt="2020-04-08T03:00:11.627" v="1867" actId="404"/>
          <ac:spMkLst>
            <pc:docMk/>
            <pc:sldMk cId="2394793380" sldId="307"/>
            <ac:spMk id="4" creationId="{B1C62C84-1193-4ADB-8A85-1D89F2FE97E2}"/>
          </ac:spMkLst>
        </pc:spChg>
        <pc:spChg chg="mod">
          <ac:chgData name="Minu, Adolphus" userId="84bc3493-e2f7-488b-b30a-d7990db68534" providerId="ADAL" clId="{36BCEFC4-5857-4A5D-8DB5-F0C9C3E88E9D}" dt="2020-04-08T03:00:11.627" v="1867" actId="404"/>
          <ac:spMkLst>
            <pc:docMk/>
            <pc:sldMk cId="2394793380" sldId="307"/>
            <ac:spMk id="6" creationId="{398152BC-43A6-4818-8311-0A33454E6222}"/>
          </ac:spMkLst>
        </pc:spChg>
        <pc:spChg chg="mod">
          <ac:chgData name="Minu, Adolphus" userId="84bc3493-e2f7-488b-b30a-d7990db68534" providerId="ADAL" clId="{36BCEFC4-5857-4A5D-8DB5-F0C9C3E88E9D}" dt="2020-04-08T03:00:11.627" v="1867" actId="404"/>
          <ac:spMkLst>
            <pc:docMk/>
            <pc:sldMk cId="2394793380" sldId="307"/>
            <ac:spMk id="7" creationId="{D7903B0A-C96B-41D0-8272-1E599D44A95D}"/>
          </ac:spMkLst>
        </pc:spChg>
        <pc:spChg chg="mod">
          <ac:chgData name="Minu, Adolphus" userId="84bc3493-e2f7-488b-b30a-d7990db68534" providerId="ADAL" clId="{36BCEFC4-5857-4A5D-8DB5-F0C9C3E88E9D}" dt="2020-04-08T03:00:11.627" v="1867" actId="404"/>
          <ac:spMkLst>
            <pc:docMk/>
            <pc:sldMk cId="2394793380" sldId="307"/>
            <ac:spMk id="8" creationId="{6390F593-5623-4A34-A97D-B347E3602C60}"/>
          </ac:spMkLst>
        </pc:spChg>
        <pc:spChg chg="mod">
          <ac:chgData name="Minu, Adolphus" userId="84bc3493-e2f7-488b-b30a-d7990db68534" providerId="ADAL" clId="{36BCEFC4-5857-4A5D-8DB5-F0C9C3E88E9D}" dt="2020-04-08T03:00:11.627" v="1867" actId="404"/>
          <ac:spMkLst>
            <pc:docMk/>
            <pc:sldMk cId="2394793380" sldId="307"/>
            <ac:spMk id="37" creationId="{86051366-957A-4C82-B192-515884307A63}"/>
          </ac:spMkLst>
        </pc:spChg>
        <pc:graphicFrameChg chg="mod">
          <ac:chgData name="Minu, Adolphus" userId="84bc3493-e2f7-488b-b30a-d7990db68534" providerId="ADAL" clId="{36BCEFC4-5857-4A5D-8DB5-F0C9C3E88E9D}" dt="2020-04-08T03:11:00.384" v="1887"/>
          <ac:graphicFrameMkLst>
            <pc:docMk/>
            <pc:sldMk cId="2394793380" sldId="307"/>
            <ac:graphicFrameMk id="33" creationId="{E526AD05-1656-4BF0-A669-AC12BB098DDC}"/>
          </ac:graphicFrameMkLst>
        </pc:graphicFrameChg>
        <pc:picChg chg="mod">
          <ac:chgData name="Minu, Adolphus" userId="84bc3493-e2f7-488b-b30a-d7990db68534" providerId="ADAL" clId="{36BCEFC4-5857-4A5D-8DB5-F0C9C3E88E9D}" dt="2020-04-08T03:00:11.627" v="1867" actId="404"/>
          <ac:picMkLst>
            <pc:docMk/>
            <pc:sldMk cId="2394793380" sldId="307"/>
            <ac:picMk id="34" creationId="{1C6C37FC-B700-435E-84CB-8186A33FF30F}"/>
          </ac:picMkLst>
        </pc:picChg>
        <pc:picChg chg="mod">
          <ac:chgData name="Minu, Adolphus" userId="84bc3493-e2f7-488b-b30a-d7990db68534" providerId="ADAL" clId="{36BCEFC4-5857-4A5D-8DB5-F0C9C3E88E9D}" dt="2020-04-08T03:00:11.627" v="1867" actId="404"/>
          <ac:picMkLst>
            <pc:docMk/>
            <pc:sldMk cId="2394793380" sldId="307"/>
            <ac:picMk id="35" creationId="{D3F500BC-93EA-4872-A50D-55C31E09EFD6}"/>
          </ac:picMkLst>
        </pc:picChg>
        <pc:picChg chg="mod">
          <ac:chgData name="Minu, Adolphus" userId="84bc3493-e2f7-488b-b30a-d7990db68534" providerId="ADAL" clId="{36BCEFC4-5857-4A5D-8DB5-F0C9C3E88E9D}" dt="2020-04-08T03:00:11.627" v="1867" actId="404"/>
          <ac:picMkLst>
            <pc:docMk/>
            <pc:sldMk cId="2394793380" sldId="307"/>
            <ac:picMk id="36" creationId="{FB5D70F7-9A87-4934-BA96-D48BBCD48A13}"/>
          </ac:picMkLst>
        </pc:picChg>
        <pc:picChg chg="mod">
          <ac:chgData name="Minu, Adolphus" userId="84bc3493-e2f7-488b-b30a-d7990db68534" providerId="ADAL" clId="{36BCEFC4-5857-4A5D-8DB5-F0C9C3E88E9D}" dt="2020-04-08T03:00:11.627" v="1867" actId="404"/>
          <ac:picMkLst>
            <pc:docMk/>
            <pc:sldMk cId="2394793380" sldId="307"/>
            <ac:picMk id="38" creationId="{0F1F67EE-56D7-498B-A960-4124A18238FB}"/>
          </ac:picMkLst>
        </pc:picChg>
        <pc:picChg chg="mod">
          <ac:chgData name="Minu, Adolphus" userId="84bc3493-e2f7-488b-b30a-d7990db68534" providerId="ADAL" clId="{36BCEFC4-5857-4A5D-8DB5-F0C9C3E88E9D}" dt="2020-04-08T03:00:11.627" v="1867" actId="404"/>
          <ac:picMkLst>
            <pc:docMk/>
            <pc:sldMk cId="2394793380" sldId="307"/>
            <ac:picMk id="39" creationId="{2046BFD1-9BF7-4B31-BC4E-D350FD5996F1}"/>
          </ac:picMkLst>
        </pc:picChg>
        <pc:picChg chg="mod">
          <ac:chgData name="Minu, Adolphus" userId="84bc3493-e2f7-488b-b30a-d7990db68534" providerId="ADAL" clId="{36BCEFC4-5857-4A5D-8DB5-F0C9C3E88E9D}" dt="2020-04-08T03:00:11.627" v="1867" actId="404"/>
          <ac:picMkLst>
            <pc:docMk/>
            <pc:sldMk cId="2394793380" sldId="307"/>
            <ac:picMk id="40" creationId="{BC249CA1-571D-4AD9-A354-16EFA0640EF1}"/>
          </ac:picMkLst>
        </pc:picChg>
        <pc:picChg chg="mod">
          <ac:chgData name="Minu, Adolphus" userId="84bc3493-e2f7-488b-b30a-d7990db68534" providerId="ADAL" clId="{36BCEFC4-5857-4A5D-8DB5-F0C9C3E88E9D}" dt="2020-04-08T03:00:11.627" v="1867" actId="404"/>
          <ac:picMkLst>
            <pc:docMk/>
            <pc:sldMk cId="2394793380" sldId="307"/>
            <ac:picMk id="41" creationId="{040122F8-2352-4F42-9421-C4729000DE92}"/>
          </ac:picMkLst>
        </pc:picChg>
      </pc:sldChg>
      <pc:sldChg chg="modSp">
        <pc:chgData name="Minu, Adolphus" userId="84bc3493-e2f7-488b-b30a-d7990db68534" providerId="ADAL" clId="{36BCEFC4-5857-4A5D-8DB5-F0C9C3E88E9D}" dt="2020-04-06T03:32:24.278" v="14" actId="20577"/>
        <pc:sldMkLst>
          <pc:docMk/>
          <pc:sldMk cId="407423397" sldId="340"/>
        </pc:sldMkLst>
        <pc:spChg chg="mod">
          <ac:chgData name="Minu, Adolphus" userId="84bc3493-e2f7-488b-b30a-d7990db68534" providerId="ADAL" clId="{36BCEFC4-5857-4A5D-8DB5-F0C9C3E88E9D}" dt="2020-04-06T03:32:24.278" v="14" actId="20577"/>
          <ac:spMkLst>
            <pc:docMk/>
            <pc:sldMk cId="407423397" sldId="340"/>
            <ac:spMk id="7" creationId="{0A3C684A-AA2C-4627-AF01-01B9E7DF4D25}"/>
          </ac:spMkLst>
        </pc:spChg>
      </pc:sldChg>
      <pc:sldChg chg="add">
        <pc:chgData name="Minu, Adolphus" userId="84bc3493-e2f7-488b-b30a-d7990db68534" providerId="ADAL" clId="{36BCEFC4-5857-4A5D-8DB5-F0C9C3E88E9D}" dt="2020-04-06T03:32:12.369" v="0"/>
        <pc:sldMkLst>
          <pc:docMk/>
          <pc:sldMk cId="3802392246" sldId="342"/>
        </pc:sldMkLst>
      </pc:sldChg>
      <pc:sldChg chg="addSp delSp modSp add del">
        <pc:chgData name="Minu, Adolphus" userId="84bc3493-e2f7-488b-b30a-d7990db68534" providerId="ADAL" clId="{36BCEFC4-5857-4A5D-8DB5-F0C9C3E88E9D}" dt="2020-04-06T03:41:33.543" v="26" actId="2696"/>
        <pc:sldMkLst>
          <pc:docMk/>
          <pc:sldMk cId="2178772993" sldId="343"/>
        </pc:sldMkLst>
        <pc:spChg chg="del">
          <ac:chgData name="Minu, Adolphus" userId="84bc3493-e2f7-488b-b30a-d7990db68534" providerId="ADAL" clId="{36BCEFC4-5857-4A5D-8DB5-F0C9C3E88E9D}" dt="2020-04-06T03:40:34.637" v="16"/>
          <ac:spMkLst>
            <pc:docMk/>
            <pc:sldMk cId="2178772993" sldId="343"/>
            <ac:spMk id="5" creationId="{F424316F-D3F4-48C5-B107-CD8D337DDC0F}"/>
          </ac:spMkLst>
        </pc:spChg>
        <pc:spChg chg="del">
          <ac:chgData name="Minu, Adolphus" userId="84bc3493-e2f7-488b-b30a-d7990db68534" providerId="ADAL" clId="{36BCEFC4-5857-4A5D-8DB5-F0C9C3E88E9D}" dt="2020-04-06T03:40:34.637" v="16"/>
          <ac:spMkLst>
            <pc:docMk/>
            <pc:sldMk cId="2178772993" sldId="343"/>
            <ac:spMk id="6" creationId="{2CBDBDD9-01B6-4454-80AD-68262B16344E}"/>
          </ac:spMkLst>
        </pc:spChg>
        <pc:spChg chg="del">
          <ac:chgData name="Minu, Adolphus" userId="84bc3493-e2f7-488b-b30a-d7990db68534" providerId="ADAL" clId="{36BCEFC4-5857-4A5D-8DB5-F0C9C3E88E9D}" dt="2020-04-06T03:40:34.637" v="16"/>
          <ac:spMkLst>
            <pc:docMk/>
            <pc:sldMk cId="2178772993" sldId="343"/>
            <ac:spMk id="7" creationId="{A0EFB128-8083-42EC-A103-92685BE2DA70}"/>
          </ac:spMkLst>
        </pc:spChg>
        <pc:spChg chg="add del mod">
          <ac:chgData name="Minu, Adolphus" userId="84bc3493-e2f7-488b-b30a-d7990db68534" providerId="ADAL" clId="{36BCEFC4-5857-4A5D-8DB5-F0C9C3E88E9D}" dt="2020-04-06T03:40:42.569" v="17"/>
          <ac:spMkLst>
            <pc:docMk/>
            <pc:sldMk cId="2178772993" sldId="343"/>
            <ac:spMk id="8" creationId="{F4A68DA8-1FC7-45BB-ACDB-C4F7015C87A5}"/>
          </ac:spMkLst>
        </pc:spChg>
        <pc:spChg chg="add mod">
          <ac:chgData name="Minu, Adolphus" userId="84bc3493-e2f7-488b-b30a-d7990db68534" providerId="ADAL" clId="{36BCEFC4-5857-4A5D-8DB5-F0C9C3E88E9D}" dt="2020-04-06T03:41:27.003" v="25" actId="1076"/>
          <ac:spMkLst>
            <pc:docMk/>
            <pc:sldMk cId="2178772993" sldId="343"/>
            <ac:spMk id="9" creationId="{E724D15D-2F02-4BA4-B09D-6FC10223885D}"/>
          </ac:spMkLst>
        </pc:spChg>
        <pc:spChg chg="add mod">
          <ac:chgData name="Minu, Adolphus" userId="84bc3493-e2f7-488b-b30a-d7990db68534" providerId="ADAL" clId="{36BCEFC4-5857-4A5D-8DB5-F0C9C3E88E9D}" dt="2020-04-06T03:40:42.569" v="17"/>
          <ac:spMkLst>
            <pc:docMk/>
            <pc:sldMk cId="2178772993" sldId="343"/>
            <ac:spMk id="10" creationId="{24E9E440-216B-47C3-8263-8D68B3B09DCB}"/>
          </ac:spMkLst>
        </pc:spChg>
        <pc:spChg chg="add mod">
          <ac:chgData name="Minu, Adolphus" userId="84bc3493-e2f7-488b-b30a-d7990db68534" providerId="ADAL" clId="{36BCEFC4-5857-4A5D-8DB5-F0C9C3E88E9D}" dt="2020-04-06T03:40:42.664" v="18" actId="27636"/>
          <ac:spMkLst>
            <pc:docMk/>
            <pc:sldMk cId="2178772993" sldId="343"/>
            <ac:spMk id="11" creationId="{1707A2B5-EE5D-4F63-B011-12ED709332EC}"/>
          </ac:spMkLst>
        </pc:spChg>
        <pc:spChg chg="add del mod">
          <ac:chgData name="Minu, Adolphus" userId="84bc3493-e2f7-488b-b30a-d7990db68534" providerId="ADAL" clId="{36BCEFC4-5857-4A5D-8DB5-F0C9C3E88E9D}" dt="2020-04-06T03:41:08.152" v="21" actId="478"/>
          <ac:spMkLst>
            <pc:docMk/>
            <pc:sldMk cId="2178772993" sldId="343"/>
            <ac:spMk id="12" creationId="{39965EF9-BF2C-4534-B3D6-580DA642B076}"/>
          </ac:spMkLst>
        </pc:spChg>
        <pc:spChg chg="add del">
          <ac:chgData name="Minu, Adolphus" userId="84bc3493-e2f7-488b-b30a-d7990db68534" providerId="ADAL" clId="{36BCEFC4-5857-4A5D-8DB5-F0C9C3E88E9D}" dt="2020-04-06T03:41:08.152" v="21" actId="478"/>
          <ac:spMkLst>
            <pc:docMk/>
            <pc:sldMk cId="2178772993" sldId="343"/>
            <ac:spMk id="13" creationId="{B7590E8F-6A01-403A-A19E-382D764F1ADD}"/>
          </ac:spMkLst>
        </pc:spChg>
        <pc:spChg chg="add del">
          <ac:chgData name="Minu, Adolphus" userId="84bc3493-e2f7-488b-b30a-d7990db68534" providerId="ADAL" clId="{36BCEFC4-5857-4A5D-8DB5-F0C9C3E88E9D}" dt="2020-04-06T03:41:08.152" v="21" actId="478"/>
          <ac:spMkLst>
            <pc:docMk/>
            <pc:sldMk cId="2178772993" sldId="343"/>
            <ac:spMk id="14" creationId="{DFC2D43B-0AD1-4FBD-A46B-5A074AB3A694}"/>
          </ac:spMkLst>
        </pc:spChg>
        <pc:spChg chg="add del">
          <ac:chgData name="Minu, Adolphus" userId="84bc3493-e2f7-488b-b30a-d7990db68534" providerId="ADAL" clId="{36BCEFC4-5857-4A5D-8DB5-F0C9C3E88E9D}" dt="2020-04-06T03:41:08.152" v="21" actId="478"/>
          <ac:spMkLst>
            <pc:docMk/>
            <pc:sldMk cId="2178772993" sldId="343"/>
            <ac:spMk id="15" creationId="{ECC5DF25-6137-4EE3-8EAA-E08244E53C0B}"/>
          </ac:spMkLst>
        </pc:spChg>
        <pc:picChg chg="add del">
          <ac:chgData name="Minu, Adolphus" userId="84bc3493-e2f7-488b-b30a-d7990db68534" providerId="ADAL" clId="{36BCEFC4-5857-4A5D-8DB5-F0C9C3E88E9D}" dt="2020-04-06T03:41:08.152" v="21" actId="478"/>
          <ac:picMkLst>
            <pc:docMk/>
            <pc:sldMk cId="2178772993" sldId="343"/>
            <ac:picMk id="1025" creationId="{9BFF0929-3B06-482C-8100-742226519EDA}"/>
          </ac:picMkLst>
        </pc:picChg>
        <pc:picChg chg="add del">
          <ac:chgData name="Minu, Adolphus" userId="84bc3493-e2f7-488b-b30a-d7990db68534" providerId="ADAL" clId="{36BCEFC4-5857-4A5D-8DB5-F0C9C3E88E9D}" dt="2020-04-06T03:41:21.436" v="24" actId="478"/>
          <ac:picMkLst>
            <pc:docMk/>
            <pc:sldMk cId="2178772993" sldId="343"/>
            <ac:picMk id="1026" creationId="{E0E62294-86BC-47FB-94A0-1DB4F8F6D0EF}"/>
          </ac:picMkLst>
        </pc:picChg>
      </pc:sldChg>
      <pc:sldChg chg="addSp delSp modSp add">
        <pc:chgData name="Minu, Adolphus" userId="84bc3493-e2f7-488b-b30a-d7990db68534" providerId="ADAL" clId="{36BCEFC4-5857-4A5D-8DB5-F0C9C3E88E9D}" dt="2020-04-07T09:27:05.514" v="1863" actId="1076"/>
        <pc:sldMkLst>
          <pc:docMk/>
          <pc:sldMk cId="2953239251" sldId="343"/>
        </pc:sldMkLst>
        <pc:spChg chg="del">
          <ac:chgData name="Minu, Adolphus" userId="84bc3493-e2f7-488b-b30a-d7990db68534" providerId="ADAL" clId="{36BCEFC4-5857-4A5D-8DB5-F0C9C3E88E9D}" dt="2020-04-06T03:41:50.755" v="28"/>
          <ac:spMkLst>
            <pc:docMk/>
            <pc:sldMk cId="2953239251" sldId="343"/>
            <ac:spMk id="5" creationId="{80E683D4-73EC-4406-9EE4-304ED72C7B80}"/>
          </ac:spMkLst>
        </pc:spChg>
        <pc:spChg chg="del">
          <ac:chgData name="Minu, Adolphus" userId="84bc3493-e2f7-488b-b30a-d7990db68534" providerId="ADAL" clId="{36BCEFC4-5857-4A5D-8DB5-F0C9C3E88E9D}" dt="2020-04-06T03:41:50.755" v="28"/>
          <ac:spMkLst>
            <pc:docMk/>
            <pc:sldMk cId="2953239251" sldId="343"/>
            <ac:spMk id="6" creationId="{4CFB07F3-A322-4AEA-8DFE-5FAA75C56401}"/>
          </ac:spMkLst>
        </pc:spChg>
        <pc:spChg chg="del">
          <ac:chgData name="Minu, Adolphus" userId="84bc3493-e2f7-488b-b30a-d7990db68534" providerId="ADAL" clId="{36BCEFC4-5857-4A5D-8DB5-F0C9C3E88E9D}" dt="2020-04-06T03:41:50.755" v="28"/>
          <ac:spMkLst>
            <pc:docMk/>
            <pc:sldMk cId="2953239251" sldId="343"/>
            <ac:spMk id="7" creationId="{D033E4A1-198F-44A4-9F50-BFD70C1C78F5}"/>
          </ac:spMkLst>
        </pc:spChg>
        <pc:spChg chg="add mod">
          <ac:chgData name="Minu, Adolphus" userId="84bc3493-e2f7-488b-b30a-d7990db68534" providerId="ADAL" clId="{36BCEFC4-5857-4A5D-8DB5-F0C9C3E88E9D}" dt="2020-04-06T03:47:19.423" v="207" actId="20577"/>
          <ac:spMkLst>
            <pc:docMk/>
            <pc:sldMk cId="2953239251" sldId="343"/>
            <ac:spMk id="8" creationId="{62C76818-1BA4-4A6D-9F59-BC15FCDD11FD}"/>
          </ac:spMkLst>
        </pc:spChg>
        <pc:spChg chg="add mod">
          <ac:chgData name="Minu, Adolphus" userId="84bc3493-e2f7-488b-b30a-d7990db68534" providerId="ADAL" clId="{36BCEFC4-5857-4A5D-8DB5-F0C9C3E88E9D}" dt="2020-04-06T03:45:38.690" v="69" actId="20577"/>
          <ac:spMkLst>
            <pc:docMk/>
            <pc:sldMk cId="2953239251" sldId="343"/>
            <ac:spMk id="9" creationId="{70C34110-4F3E-40EB-8F57-D0D0322C211C}"/>
          </ac:spMkLst>
        </pc:spChg>
        <pc:spChg chg="add mod">
          <ac:chgData name="Minu, Adolphus" userId="84bc3493-e2f7-488b-b30a-d7990db68534" providerId="ADAL" clId="{36BCEFC4-5857-4A5D-8DB5-F0C9C3E88E9D}" dt="2020-04-06T03:41:50.836" v="29" actId="27636"/>
          <ac:spMkLst>
            <pc:docMk/>
            <pc:sldMk cId="2953239251" sldId="343"/>
            <ac:spMk id="10" creationId="{FD4D20AD-C525-41EB-86CD-FDA3B0CCD8E4}"/>
          </ac:spMkLst>
        </pc:spChg>
        <pc:spChg chg="add mod">
          <ac:chgData name="Minu, Adolphus" userId="84bc3493-e2f7-488b-b30a-d7990db68534" providerId="ADAL" clId="{36BCEFC4-5857-4A5D-8DB5-F0C9C3E88E9D}" dt="2020-04-06T04:56:12.962" v="1535" actId="6549"/>
          <ac:spMkLst>
            <pc:docMk/>
            <pc:sldMk cId="2953239251" sldId="343"/>
            <ac:spMk id="11" creationId="{6B37E03F-D3BF-44E6-AC5F-086A631EF38D}"/>
          </ac:spMkLst>
        </pc:spChg>
        <pc:picChg chg="add mod">
          <ac:chgData name="Minu, Adolphus" userId="84bc3493-e2f7-488b-b30a-d7990db68534" providerId="ADAL" clId="{36BCEFC4-5857-4A5D-8DB5-F0C9C3E88E9D}" dt="2020-04-07T09:26:02.290" v="1860" actId="1076"/>
          <ac:picMkLst>
            <pc:docMk/>
            <pc:sldMk cId="2953239251" sldId="343"/>
            <ac:picMk id="5" creationId="{4BD8A064-B8A6-4276-8547-B4B3E3816348}"/>
          </ac:picMkLst>
        </pc:picChg>
        <pc:picChg chg="add mod">
          <ac:chgData name="Minu, Adolphus" userId="84bc3493-e2f7-488b-b30a-d7990db68534" providerId="ADAL" clId="{36BCEFC4-5857-4A5D-8DB5-F0C9C3E88E9D}" dt="2020-04-07T09:27:05.514" v="1863" actId="1076"/>
          <ac:picMkLst>
            <pc:docMk/>
            <pc:sldMk cId="2953239251" sldId="343"/>
            <ac:picMk id="6" creationId="{1EB2B989-6561-4552-8CE0-07AF3B5449D4}"/>
          </ac:picMkLst>
        </pc:picChg>
      </pc:sldChg>
      <pc:sldChg chg="modSp add">
        <pc:chgData name="Minu, Adolphus" userId="84bc3493-e2f7-488b-b30a-d7990db68534" providerId="ADAL" clId="{36BCEFC4-5857-4A5D-8DB5-F0C9C3E88E9D}" dt="2020-04-06T04:55:36.754" v="1526" actId="20577"/>
        <pc:sldMkLst>
          <pc:docMk/>
          <pc:sldMk cId="4212855825" sldId="344"/>
        </pc:sldMkLst>
        <pc:spChg chg="mod">
          <ac:chgData name="Minu, Adolphus" userId="84bc3493-e2f7-488b-b30a-d7990db68534" providerId="ADAL" clId="{36BCEFC4-5857-4A5D-8DB5-F0C9C3E88E9D}" dt="2020-04-06T03:57:09.834" v="227" actId="20577"/>
          <ac:spMkLst>
            <pc:docMk/>
            <pc:sldMk cId="4212855825" sldId="344"/>
            <ac:spMk id="9" creationId="{70C34110-4F3E-40EB-8F57-D0D0322C211C}"/>
          </ac:spMkLst>
        </pc:spChg>
        <pc:spChg chg="mod">
          <ac:chgData name="Minu, Adolphus" userId="84bc3493-e2f7-488b-b30a-d7990db68534" providerId="ADAL" clId="{36BCEFC4-5857-4A5D-8DB5-F0C9C3E88E9D}" dt="2020-04-06T04:55:36.754" v="1526" actId="20577"/>
          <ac:spMkLst>
            <pc:docMk/>
            <pc:sldMk cId="4212855825" sldId="344"/>
            <ac:spMk id="11" creationId="{6B37E03F-D3BF-44E6-AC5F-086A631EF38D}"/>
          </ac:spMkLst>
        </pc:spChg>
      </pc:sldChg>
      <pc:sldChg chg="modSp add">
        <pc:chgData name="Minu, Adolphus" userId="84bc3493-e2f7-488b-b30a-d7990db68534" providerId="ADAL" clId="{36BCEFC4-5857-4A5D-8DB5-F0C9C3E88E9D}" dt="2020-04-06T04:47:53.911" v="1357" actId="1076"/>
        <pc:sldMkLst>
          <pc:docMk/>
          <pc:sldMk cId="2844763646" sldId="345"/>
        </pc:sldMkLst>
        <pc:spChg chg="mod">
          <ac:chgData name="Minu, Adolphus" userId="84bc3493-e2f7-488b-b30a-d7990db68534" providerId="ADAL" clId="{36BCEFC4-5857-4A5D-8DB5-F0C9C3E88E9D}" dt="2020-04-06T04:37:01.065" v="1356" actId="108"/>
          <ac:spMkLst>
            <pc:docMk/>
            <pc:sldMk cId="2844763646" sldId="345"/>
            <ac:spMk id="5" creationId="{0807460B-0091-4165-AFE4-6C69C26712EA}"/>
          </ac:spMkLst>
        </pc:spChg>
        <pc:spChg chg="mod">
          <ac:chgData name="Minu, Adolphus" userId="84bc3493-e2f7-488b-b30a-d7990db68534" providerId="ADAL" clId="{36BCEFC4-5857-4A5D-8DB5-F0C9C3E88E9D}" dt="2020-04-06T04:10:52.813" v="389" actId="27636"/>
          <ac:spMkLst>
            <pc:docMk/>
            <pc:sldMk cId="2844763646" sldId="345"/>
            <ac:spMk id="6" creationId="{9F24F861-6AC8-4389-85C6-3BA26D6E664E}"/>
          </ac:spMkLst>
        </pc:spChg>
        <pc:spChg chg="mod">
          <ac:chgData name="Minu, Adolphus" userId="84bc3493-e2f7-488b-b30a-d7990db68534" providerId="ADAL" clId="{36BCEFC4-5857-4A5D-8DB5-F0C9C3E88E9D}" dt="2020-04-06T04:47:53.911" v="1357" actId="1076"/>
          <ac:spMkLst>
            <pc:docMk/>
            <pc:sldMk cId="2844763646" sldId="345"/>
            <ac:spMk id="7" creationId="{60D65CE5-0260-4114-837B-45BE5F37D6CF}"/>
          </ac:spMkLst>
        </pc:spChg>
        <pc:spChg chg="mod">
          <ac:chgData name="Minu, Adolphus" userId="84bc3493-e2f7-488b-b30a-d7990db68534" providerId="ADAL" clId="{36BCEFC4-5857-4A5D-8DB5-F0C9C3E88E9D}" dt="2020-04-06T04:11:03.799" v="417" actId="20577"/>
          <ac:spMkLst>
            <pc:docMk/>
            <pc:sldMk cId="2844763646" sldId="345"/>
            <ac:spMk id="8" creationId="{AE2ABAB2-BCD2-4F0B-ACD7-0C5B62852C53}"/>
          </ac:spMkLst>
        </pc:spChg>
      </pc:sldChg>
      <pc:sldChg chg="addSp delSp modSp add modTransition">
        <pc:chgData name="Minu, Adolphus" userId="84bc3493-e2f7-488b-b30a-d7990db68534" providerId="ADAL" clId="{36BCEFC4-5857-4A5D-8DB5-F0C9C3E88E9D}" dt="2020-04-07T02:36:20.826" v="1630"/>
        <pc:sldMkLst>
          <pc:docMk/>
          <pc:sldMk cId="1772564998" sldId="346"/>
        </pc:sldMkLst>
        <pc:spChg chg="del">
          <ac:chgData name="Minu, Adolphus" userId="84bc3493-e2f7-488b-b30a-d7990db68534" providerId="ADAL" clId="{36BCEFC4-5857-4A5D-8DB5-F0C9C3E88E9D}" dt="2020-04-07T02:29:01.492" v="1543" actId="478"/>
          <ac:spMkLst>
            <pc:docMk/>
            <pc:sldMk cId="1772564998" sldId="346"/>
            <ac:spMk id="5" creationId="{77F8BE88-7164-4732-9C94-7AF5F5687A37}"/>
          </ac:spMkLst>
        </pc:spChg>
        <pc:spChg chg="mod">
          <ac:chgData name="Minu, Adolphus" userId="84bc3493-e2f7-488b-b30a-d7990db68534" providerId="ADAL" clId="{36BCEFC4-5857-4A5D-8DB5-F0C9C3E88E9D}" dt="2020-04-07T02:26:49.949" v="1537" actId="27636"/>
          <ac:spMkLst>
            <pc:docMk/>
            <pc:sldMk cId="1772564998" sldId="346"/>
            <ac:spMk id="6" creationId="{1AA6BAB8-26FA-44CB-9418-D8BA4BEE5EC6}"/>
          </ac:spMkLst>
        </pc:spChg>
        <pc:spChg chg="mod">
          <ac:chgData name="Minu, Adolphus" userId="84bc3493-e2f7-488b-b30a-d7990db68534" providerId="ADAL" clId="{36BCEFC4-5857-4A5D-8DB5-F0C9C3E88E9D}" dt="2020-04-07T02:32:49.776" v="1573" actId="20577"/>
          <ac:spMkLst>
            <pc:docMk/>
            <pc:sldMk cId="1772564998" sldId="346"/>
            <ac:spMk id="7" creationId="{80C0E423-4513-4640-8649-93839C01628A}"/>
          </ac:spMkLst>
        </pc:spChg>
        <pc:spChg chg="add mod">
          <ac:chgData name="Minu, Adolphus" userId="84bc3493-e2f7-488b-b30a-d7990db68534" providerId="ADAL" clId="{36BCEFC4-5857-4A5D-8DB5-F0C9C3E88E9D}" dt="2020-04-07T02:28:43.970" v="1540" actId="571"/>
          <ac:spMkLst>
            <pc:docMk/>
            <pc:sldMk cId="1772564998" sldId="346"/>
            <ac:spMk id="11" creationId="{66EA4AB1-D48A-4D67-9B73-930D8944ECE8}"/>
          </ac:spMkLst>
        </pc:spChg>
        <pc:spChg chg="add mod">
          <ac:chgData name="Minu, Adolphus" userId="84bc3493-e2f7-488b-b30a-d7990db68534" providerId="ADAL" clId="{36BCEFC4-5857-4A5D-8DB5-F0C9C3E88E9D}" dt="2020-04-07T02:33:22.959" v="1613" actId="20577"/>
          <ac:spMkLst>
            <pc:docMk/>
            <pc:sldMk cId="1772564998" sldId="346"/>
            <ac:spMk id="14" creationId="{0C2A192E-D113-44D7-9725-40810DF6540A}"/>
          </ac:spMkLst>
        </pc:spChg>
        <pc:graphicFrameChg chg="add del modGraphic">
          <ac:chgData name="Minu, Adolphus" userId="84bc3493-e2f7-488b-b30a-d7990db68534" providerId="ADAL" clId="{36BCEFC4-5857-4A5D-8DB5-F0C9C3E88E9D}" dt="2020-04-07T02:29:46.278" v="1544" actId="478"/>
          <ac:graphicFrameMkLst>
            <pc:docMk/>
            <pc:sldMk cId="1772564998" sldId="346"/>
            <ac:graphicFrameMk id="10" creationId="{5683F7A8-FF96-44B7-802C-1F34258686DA}"/>
          </ac:graphicFrameMkLst>
        </pc:graphicFrameChg>
        <pc:graphicFrameChg chg="add mod modGraphic">
          <ac:chgData name="Minu, Adolphus" userId="84bc3493-e2f7-488b-b30a-d7990db68534" providerId="ADAL" clId="{36BCEFC4-5857-4A5D-8DB5-F0C9C3E88E9D}" dt="2020-04-07T02:33:48.872" v="1614" actId="14100"/>
          <ac:graphicFrameMkLst>
            <pc:docMk/>
            <pc:sldMk cId="1772564998" sldId="346"/>
            <ac:graphicFrameMk id="12" creationId="{D024EC96-A372-4031-A933-A1D71D615D8B}"/>
          </ac:graphicFrameMkLst>
        </pc:graphicFrameChg>
        <pc:graphicFrameChg chg="add mod">
          <ac:chgData name="Minu, Adolphus" userId="84bc3493-e2f7-488b-b30a-d7990db68534" providerId="ADAL" clId="{36BCEFC4-5857-4A5D-8DB5-F0C9C3E88E9D}" dt="2020-04-07T02:29:50.459" v="1546" actId="1076"/>
          <ac:graphicFrameMkLst>
            <pc:docMk/>
            <pc:sldMk cId="1772564998" sldId="346"/>
            <ac:graphicFrameMk id="13" creationId="{F98BA36F-3908-4310-BF24-A94F3DC3C55A}"/>
          </ac:graphicFrameMkLst>
        </pc:graphicFrameChg>
      </pc:sldChg>
      <pc:sldChg chg="addSp delSp modSp add del">
        <pc:chgData name="Minu, Adolphus" userId="84bc3493-e2f7-488b-b30a-d7990db68534" providerId="ADAL" clId="{36BCEFC4-5857-4A5D-8DB5-F0C9C3E88E9D}" dt="2020-04-07T09:23:27.931" v="1857" actId="2696"/>
        <pc:sldMkLst>
          <pc:docMk/>
          <pc:sldMk cId="2823751355" sldId="494"/>
        </pc:sldMkLst>
        <pc:spChg chg="add del mod">
          <ac:chgData name="Minu, Adolphus" userId="84bc3493-e2f7-488b-b30a-d7990db68534" providerId="ADAL" clId="{36BCEFC4-5857-4A5D-8DB5-F0C9C3E88E9D}" dt="2020-04-07T02:30:54.092" v="1553" actId="478"/>
          <ac:spMkLst>
            <pc:docMk/>
            <pc:sldMk cId="2823751355" sldId="494"/>
            <ac:spMk id="5" creationId="{D5B99D41-EE02-4F2A-AD20-0BB46D8631C5}"/>
          </ac:spMkLst>
        </pc:spChg>
        <pc:spChg chg="mod">
          <ac:chgData name="Minu, Adolphus" userId="84bc3493-e2f7-488b-b30a-d7990db68534" providerId="ADAL" clId="{36BCEFC4-5857-4A5D-8DB5-F0C9C3E88E9D}" dt="2020-04-07T02:30:05.822" v="1548" actId="27636"/>
          <ac:spMkLst>
            <pc:docMk/>
            <pc:sldMk cId="2823751355" sldId="494"/>
            <ac:spMk id="6" creationId="{FA353965-E403-44E6-B922-B27A89DF75CF}"/>
          </ac:spMkLst>
        </pc:spChg>
        <pc:spChg chg="del mod">
          <ac:chgData name="Minu, Adolphus" userId="84bc3493-e2f7-488b-b30a-d7990db68534" providerId="ADAL" clId="{36BCEFC4-5857-4A5D-8DB5-F0C9C3E88E9D}" dt="2020-04-07T03:45:23.024" v="1778"/>
          <ac:spMkLst>
            <pc:docMk/>
            <pc:sldMk cId="2823751355" sldId="494"/>
            <ac:spMk id="7" creationId="{815FBBAD-D155-421F-B499-EBC9E531CD85}"/>
          </ac:spMkLst>
        </pc:spChg>
        <pc:spChg chg="del">
          <ac:chgData name="Minu, Adolphus" userId="84bc3493-e2f7-488b-b30a-d7990db68534" providerId="ADAL" clId="{36BCEFC4-5857-4A5D-8DB5-F0C9C3E88E9D}" dt="2020-04-07T03:04:10.623" v="1772" actId="478"/>
          <ac:spMkLst>
            <pc:docMk/>
            <pc:sldMk cId="2823751355" sldId="494"/>
            <ac:spMk id="8" creationId="{FE278583-DFF0-48DA-B49A-D54EEDFCAAED}"/>
          </ac:spMkLst>
        </pc:spChg>
        <pc:spChg chg="add del mod">
          <ac:chgData name="Minu, Adolphus" userId="84bc3493-e2f7-488b-b30a-d7990db68534" providerId="ADAL" clId="{36BCEFC4-5857-4A5D-8DB5-F0C9C3E88E9D}" dt="2020-04-07T03:45:23.024" v="1778"/>
          <ac:spMkLst>
            <pc:docMk/>
            <pc:sldMk cId="2823751355" sldId="494"/>
            <ac:spMk id="11" creationId="{90CAE027-8E30-4698-901A-4A9A5F844CE3}"/>
          </ac:spMkLst>
        </pc:spChg>
        <pc:spChg chg="add">
          <ac:chgData name="Minu, Adolphus" userId="84bc3493-e2f7-488b-b30a-d7990db68534" providerId="ADAL" clId="{36BCEFC4-5857-4A5D-8DB5-F0C9C3E88E9D}" dt="2020-04-07T03:04:06.397" v="1771"/>
          <ac:spMkLst>
            <pc:docMk/>
            <pc:sldMk cId="2823751355" sldId="494"/>
            <ac:spMk id="12" creationId="{67A95242-52B2-4D18-8AB1-6C131BED39F3}"/>
          </ac:spMkLst>
        </pc:spChg>
        <pc:spChg chg="add mod">
          <ac:chgData name="Minu, Adolphus" userId="84bc3493-e2f7-488b-b30a-d7990db68534" providerId="ADAL" clId="{36BCEFC4-5857-4A5D-8DB5-F0C9C3E88E9D}" dt="2020-04-07T03:45:23.024" v="1778"/>
          <ac:spMkLst>
            <pc:docMk/>
            <pc:sldMk cId="2823751355" sldId="494"/>
            <ac:spMk id="13" creationId="{DA1E0530-1611-4B54-A840-8D910F7FA705}"/>
          </ac:spMkLst>
        </pc:spChg>
        <pc:graphicFrameChg chg="add del mod modGraphic">
          <ac:chgData name="Minu, Adolphus" userId="84bc3493-e2f7-488b-b30a-d7990db68534" providerId="ADAL" clId="{36BCEFC4-5857-4A5D-8DB5-F0C9C3E88E9D}" dt="2020-04-07T03:45:23.024" v="1778"/>
          <ac:graphicFrameMkLst>
            <pc:docMk/>
            <pc:sldMk cId="2823751355" sldId="494"/>
            <ac:graphicFrameMk id="9" creationId="{D4D70D6B-E782-4321-8626-E6DECAA31616}"/>
          </ac:graphicFrameMkLst>
        </pc:graphicFrameChg>
        <pc:graphicFrameChg chg="add del mod modGraphic">
          <ac:chgData name="Minu, Adolphus" userId="84bc3493-e2f7-488b-b30a-d7990db68534" providerId="ADAL" clId="{36BCEFC4-5857-4A5D-8DB5-F0C9C3E88E9D}" dt="2020-04-07T03:45:23.024" v="1778"/>
          <ac:graphicFrameMkLst>
            <pc:docMk/>
            <pc:sldMk cId="2823751355" sldId="494"/>
            <ac:graphicFrameMk id="10" creationId="{021DA51D-58ED-45F8-92E6-13C820476727}"/>
          </ac:graphicFrameMkLst>
        </pc:graphicFrameChg>
      </pc:sldChg>
      <pc:sldChg chg="addSp delSp modSp add modTransition">
        <pc:chgData name="Minu, Adolphus" userId="84bc3493-e2f7-488b-b30a-d7990db68534" providerId="ADAL" clId="{36BCEFC4-5857-4A5D-8DB5-F0C9C3E88E9D}" dt="2020-04-07T03:46:59.249" v="1856" actId="2165"/>
        <pc:sldMkLst>
          <pc:docMk/>
          <pc:sldMk cId="442916265" sldId="495"/>
        </pc:sldMkLst>
        <pc:spChg chg="mod">
          <ac:chgData name="Minu, Adolphus" userId="84bc3493-e2f7-488b-b30a-d7990db68534" providerId="ADAL" clId="{36BCEFC4-5857-4A5D-8DB5-F0C9C3E88E9D}" dt="2020-04-07T02:34:52.761" v="1623" actId="1076"/>
          <ac:spMkLst>
            <pc:docMk/>
            <pc:sldMk cId="442916265" sldId="495"/>
            <ac:spMk id="7" creationId="{80C0E423-4513-4640-8649-93839C01628A}"/>
          </ac:spMkLst>
        </pc:spChg>
        <pc:spChg chg="mod">
          <ac:chgData name="Minu, Adolphus" userId="84bc3493-e2f7-488b-b30a-d7990db68534" providerId="ADAL" clId="{36BCEFC4-5857-4A5D-8DB5-F0C9C3E88E9D}" dt="2020-04-07T03:45:05.393" v="1775" actId="20577"/>
          <ac:spMkLst>
            <pc:docMk/>
            <pc:sldMk cId="442916265" sldId="495"/>
            <ac:spMk id="8" creationId="{DCC1388B-C21E-4DFE-98EC-BBDF24CD490C}"/>
          </ac:spMkLst>
        </pc:spChg>
        <pc:spChg chg="del mod">
          <ac:chgData name="Minu, Adolphus" userId="84bc3493-e2f7-488b-b30a-d7990db68534" providerId="ADAL" clId="{36BCEFC4-5857-4A5D-8DB5-F0C9C3E88E9D}" dt="2020-04-07T03:46:15.146" v="1785" actId="478"/>
          <ac:spMkLst>
            <pc:docMk/>
            <pc:sldMk cId="442916265" sldId="495"/>
            <ac:spMk id="11" creationId="{66EA4AB1-D48A-4D67-9B73-930D8944ECE8}"/>
          </ac:spMkLst>
        </pc:spChg>
        <pc:spChg chg="mod">
          <ac:chgData name="Minu, Adolphus" userId="84bc3493-e2f7-488b-b30a-d7990db68534" providerId="ADAL" clId="{36BCEFC4-5857-4A5D-8DB5-F0C9C3E88E9D}" dt="2020-04-07T02:34:47.064" v="1622" actId="1076"/>
          <ac:spMkLst>
            <pc:docMk/>
            <pc:sldMk cId="442916265" sldId="495"/>
            <ac:spMk id="14" creationId="{0C2A192E-D113-44D7-9725-40810DF6540A}"/>
          </ac:spMkLst>
        </pc:spChg>
        <pc:spChg chg="add mod">
          <ac:chgData name="Minu, Adolphus" userId="84bc3493-e2f7-488b-b30a-d7990db68534" providerId="ADAL" clId="{36BCEFC4-5857-4A5D-8DB5-F0C9C3E88E9D}" dt="2020-04-07T03:46:40.153" v="1853" actId="1038"/>
          <ac:spMkLst>
            <pc:docMk/>
            <pc:sldMk cId="442916265" sldId="495"/>
            <ac:spMk id="15" creationId="{4206FC5A-99D1-4C84-B1DB-3A1ED069E7F2}"/>
          </ac:spMkLst>
        </pc:spChg>
        <pc:spChg chg="add mod">
          <ac:chgData name="Minu, Adolphus" userId="84bc3493-e2f7-488b-b30a-d7990db68534" providerId="ADAL" clId="{36BCEFC4-5857-4A5D-8DB5-F0C9C3E88E9D}" dt="2020-04-07T03:46:40.153" v="1853" actId="1038"/>
          <ac:spMkLst>
            <pc:docMk/>
            <pc:sldMk cId="442916265" sldId="495"/>
            <ac:spMk id="18" creationId="{D595FE84-A475-489B-A8DC-AF66ABBE7745}"/>
          </ac:spMkLst>
        </pc:spChg>
        <pc:graphicFrameChg chg="modGraphic">
          <ac:chgData name="Minu, Adolphus" userId="84bc3493-e2f7-488b-b30a-d7990db68534" providerId="ADAL" clId="{36BCEFC4-5857-4A5D-8DB5-F0C9C3E88E9D}" dt="2020-04-07T03:45:11.085" v="1776" actId="14100"/>
          <ac:graphicFrameMkLst>
            <pc:docMk/>
            <pc:sldMk cId="442916265" sldId="495"/>
            <ac:graphicFrameMk id="12" creationId="{D024EC96-A372-4031-A933-A1D71D615D8B}"/>
          </ac:graphicFrameMkLst>
        </pc:graphicFrameChg>
        <pc:graphicFrameChg chg="mod modGraphic">
          <ac:chgData name="Minu, Adolphus" userId="84bc3493-e2f7-488b-b30a-d7990db68534" providerId="ADAL" clId="{36BCEFC4-5857-4A5D-8DB5-F0C9C3E88E9D}" dt="2020-04-07T03:46:52.853" v="1855" actId="1076"/>
          <ac:graphicFrameMkLst>
            <pc:docMk/>
            <pc:sldMk cId="442916265" sldId="495"/>
            <ac:graphicFrameMk id="13" creationId="{F98BA36F-3908-4310-BF24-A94F3DC3C55A}"/>
          </ac:graphicFrameMkLst>
        </pc:graphicFrameChg>
        <pc:graphicFrameChg chg="add mod modGraphic">
          <ac:chgData name="Minu, Adolphus" userId="84bc3493-e2f7-488b-b30a-d7990db68534" providerId="ADAL" clId="{36BCEFC4-5857-4A5D-8DB5-F0C9C3E88E9D}" dt="2020-04-07T03:46:26.430" v="1818" actId="1038"/>
          <ac:graphicFrameMkLst>
            <pc:docMk/>
            <pc:sldMk cId="442916265" sldId="495"/>
            <ac:graphicFrameMk id="16" creationId="{4B27345E-6F05-4718-8EE2-E3D39C843015}"/>
          </ac:graphicFrameMkLst>
        </pc:graphicFrameChg>
        <pc:graphicFrameChg chg="add mod modGraphic">
          <ac:chgData name="Minu, Adolphus" userId="84bc3493-e2f7-488b-b30a-d7990db68534" providerId="ADAL" clId="{36BCEFC4-5857-4A5D-8DB5-F0C9C3E88E9D}" dt="2020-04-07T03:46:59.249" v="1856" actId="2165"/>
          <ac:graphicFrameMkLst>
            <pc:docMk/>
            <pc:sldMk cId="442916265" sldId="495"/>
            <ac:graphicFrameMk id="17" creationId="{A1AC77E9-7DCE-4A51-836C-A2A8F1CD2686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33_8EBDA5A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4F_DC7157FC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dolphus’ Career</a:t>
            </a:r>
            <a:r>
              <a:rPr lang="en-US" baseline="0"/>
              <a:t> Path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0218420202843113E-2"/>
          <c:y val="1.9898588358074291E-2"/>
          <c:w val="0.96011954193214555"/>
          <c:h val="0.7351337920067144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perience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0609853258705325E-3"/>
                  <c:y val="-0.2973350929310554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8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800"/>
                      <a:t>Graduate</a:t>
                    </a:r>
                    <a:r>
                      <a:rPr lang="en-US" sz="800" baseline="0"/>
                      <a:t> </a:t>
                    </a:r>
                    <a:r>
                      <a:rPr lang="en-US" sz="800" baseline="0" err="1"/>
                      <a:t>SydneyU</a:t>
                    </a:r>
                    <a:r>
                      <a:rPr lang="en-US" sz="800" baseline="0"/>
                      <a:t> BSc BE</a:t>
                    </a:r>
                  </a:p>
                  <a:p>
                    <a:pPr>
                      <a:defRPr sz="800"/>
                    </a:pPr>
                    <a:r>
                      <a:rPr lang="en-US" sz="800" baseline="0"/>
                      <a:t>Joined Telstra as Computer Engineer in Sydney</a:t>
                    </a:r>
                    <a:endParaRPr lang="en-US" sz="80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976418195508555"/>
                      <c:h val="0.1152250113195878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F4EE-44A7-9CB6-2999D81D3E77}"/>
                </c:ext>
              </c:extLst>
            </c:dLbl>
            <c:dLbl>
              <c:idx val="1"/>
              <c:layout>
                <c:manualLayout>
                  <c:x val="-3.6900450670156168E-2"/>
                  <c:y val="0.11414969550475006"/>
                </c:manualLayout>
              </c:layout>
              <c:tx>
                <c:rich>
                  <a:bodyPr/>
                  <a:lstStyle/>
                  <a:p>
                    <a:r>
                      <a:rPr lang="en-US" sz="800"/>
                      <a:t>Graduated Master degree in UNSW</a:t>
                    </a:r>
                  </a:p>
                  <a:p>
                    <a:endParaRPr lang="en-US" sz="80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4EE-44A7-9CB6-2999D81D3E77}"/>
                </c:ext>
              </c:extLst>
            </c:dLbl>
            <c:dLbl>
              <c:idx val="2"/>
              <c:layout>
                <c:manualLayout>
                  <c:x val="-4.4058652850836891E-2"/>
                  <c:y val="-0.15990913071506435"/>
                </c:manualLayout>
              </c:layout>
              <c:tx>
                <c:rich>
                  <a:bodyPr/>
                  <a:lstStyle/>
                  <a:p>
                    <a:r>
                      <a:rPr lang="en-US" sz="800" b="0" i="0" u="none" strike="noStrike" kern="1200" baseline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t>Relocated to HK</a:t>
                    </a:r>
                  </a:p>
                  <a:p>
                    <a:r>
                      <a:rPr lang="en-US" sz="800" b="0" i="0" u="none" strike="noStrike" kern="1200" baseline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t>Joined IBM HK</a:t>
                    </a:r>
                    <a:endParaRPr lang="en-US" sz="80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4EE-44A7-9CB6-2999D81D3E77}"/>
                </c:ext>
              </c:extLst>
            </c:dLbl>
            <c:dLbl>
              <c:idx val="3"/>
              <c:layout>
                <c:manualLayout>
                  <c:x val="-8.7029206994391525E-2"/>
                  <c:y val="-0.17112220429815345"/>
                </c:manualLayout>
              </c:layout>
              <c:tx>
                <c:rich>
                  <a:bodyPr/>
                  <a:lstStyle/>
                  <a:p>
                    <a:r>
                      <a:rPr lang="en-US" sz="800"/>
                      <a:t>Joined</a:t>
                    </a:r>
                    <a:r>
                      <a:rPr lang="en-US" sz="800" baseline="0"/>
                      <a:t> </a:t>
                    </a:r>
                    <a:r>
                      <a:rPr lang="en-US" sz="800" baseline="0" err="1"/>
                      <a:t>Alfacom</a:t>
                    </a:r>
                    <a:r>
                      <a:rPr lang="en-US" sz="800" baseline="0"/>
                      <a:t> Solutions</a:t>
                    </a:r>
                  </a:p>
                  <a:p>
                    <a:r>
                      <a:rPr lang="en-US" sz="800" baseline="0"/>
                      <a:t>As Deputy CEO  </a:t>
                    </a:r>
                  </a:p>
                  <a:p>
                    <a:endParaRPr lang="en-US" sz="800"/>
                  </a:p>
                </c:rich>
              </c:tx>
              <c:dLblPos val="r"/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4EE-44A7-9CB6-2999D81D3E77}"/>
                </c:ext>
              </c:extLst>
            </c:dLbl>
            <c:dLbl>
              <c:idx val="4"/>
              <c:layout>
                <c:manualLayout>
                  <c:x val="-5.9445024284580435E-2"/>
                  <c:y val="8.8810893524934306E-2"/>
                </c:manualLayout>
              </c:layout>
              <c:tx>
                <c:rich>
                  <a:bodyPr/>
                  <a:lstStyle/>
                  <a:p>
                    <a:r>
                      <a:rPr lang="en-US" sz="800"/>
                      <a:t>Founded</a:t>
                    </a:r>
                    <a:r>
                      <a:rPr lang="en-US" sz="800" baseline="0"/>
                      <a:t> DMA Solutions </a:t>
                    </a:r>
                    <a:endParaRPr lang="en-US" sz="80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4EE-44A7-9CB6-2999D81D3E77}"/>
                </c:ext>
              </c:extLst>
            </c:dLbl>
            <c:dLbl>
              <c:idx val="5"/>
              <c:layout>
                <c:manualLayout>
                  <c:x val="-0.13163493881156405"/>
                  <c:y val="-0.12249823125491174"/>
                </c:manualLayout>
              </c:layout>
              <c:tx>
                <c:rich>
                  <a:bodyPr/>
                  <a:lstStyle/>
                  <a:p>
                    <a:r>
                      <a:rPr lang="en-US" sz="800" err="1"/>
                      <a:t>Pacificlink</a:t>
                    </a:r>
                    <a:r>
                      <a:rPr lang="en-US" sz="800"/>
                      <a:t> and DMA became</a:t>
                    </a:r>
                    <a:r>
                      <a:rPr lang="en-US" sz="800" baseline="0"/>
                      <a:t> Partner and</a:t>
                    </a:r>
                    <a:r>
                      <a:rPr lang="en-US" sz="800"/>
                      <a:t> Shareholder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4EE-44A7-9CB6-2999D81D3E77}"/>
                </c:ext>
              </c:extLst>
            </c:dLbl>
            <c:dLbl>
              <c:idx val="6"/>
              <c:layout>
                <c:manualLayout>
                  <c:x val="-0.10133165424925132"/>
                  <c:y val="0.1411365759982838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00" b="0" i="0" u="none" strike="noStrike" kern="1200" baseline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800"/>
                      <a:t>Accenture</a:t>
                    </a:r>
                    <a:r>
                      <a:rPr lang="en-US" sz="800" baseline="0"/>
                      <a:t> acquired 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0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defRPr>
                    </a:pPr>
                    <a:r>
                      <a:rPr lang="en-US" sz="800" baseline="0" err="1"/>
                      <a:t>Pacificlink</a:t>
                    </a:r>
                    <a:r>
                      <a:rPr lang="en-US" sz="800" baseline="0"/>
                      <a:t> and DMA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0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defRPr>
                    </a:pPr>
                    <a:endParaRPr lang="en-US" sz="800" b="0" i="0" u="none" strike="noStrike" kern="1200" baseline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</a:endParaRP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0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defRPr>
                    </a:pPr>
                    <a:r>
                      <a:rPr lang="en-US" sz="800" b="0" i="0" u="none" strike="noStrike" kern="1200" baseline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t>Joined Accenture </a:t>
                    </a:r>
                    <a:r>
                      <a:rPr lang="en-US" sz="800" baseline="0"/>
                      <a:t>as Director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800" b="0" i="0" u="none" strike="noStrike" kern="1200" baseline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122510999228921"/>
                      <c:h val="0.1921592362675102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F4EE-44A7-9CB6-2999D81D3E77}"/>
                </c:ext>
              </c:extLst>
            </c:dLbl>
            <c:dLbl>
              <c:idx val="7"/>
              <c:layout>
                <c:manualLayout>
                  <c:x val="-4.1627588183945049E-3"/>
                  <c:y val="0.13465150567410378"/>
                </c:manualLayout>
              </c:layout>
              <c:tx>
                <c:rich>
                  <a:bodyPr/>
                  <a:lstStyle/>
                  <a:p>
                    <a:r>
                      <a:rPr lang="en-US" sz="800"/>
                      <a:t>Accenture </a:t>
                    </a:r>
                  </a:p>
                  <a:p>
                    <a:r>
                      <a:rPr lang="en-US" sz="800"/>
                      <a:t>Delivery</a:t>
                    </a:r>
                    <a:r>
                      <a:rPr lang="en-US" sz="800" baseline="0"/>
                      <a:t> Lead</a:t>
                    </a:r>
                  </a:p>
                  <a:p>
                    <a:r>
                      <a:rPr lang="en-US" sz="800"/>
                      <a:t>Solution Architect</a:t>
                    </a:r>
                    <a:r>
                      <a:rPr lang="en-US" sz="800" baseline="0"/>
                      <a:t> </a:t>
                    </a:r>
                    <a:endParaRPr lang="en-US" sz="800"/>
                  </a:p>
                  <a:p>
                    <a:endParaRPr lang="en-US" sz="800"/>
                  </a:p>
                  <a:p>
                    <a:r>
                      <a:rPr lang="en-US" sz="800"/>
                      <a:t>Certified DSD</a:t>
                    </a:r>
                  </a:p>
                  <a:p>
                    <a:r>
                      <a:rPr lang="en-US" sz="800"/>
                      <a:t>Certified </a:t>
                    </a:r>
                    <a:r>
                      <a:rPr lang="en-US" sz="800" err="1"/>
                      <a:t>Agilist</a:t>
                    </a:r>
                    <a:endParaRPr lang="en-US" sz="80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4EE-44A7-9CB6-2999D81D3E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Early 90</c:v>
                </c:pt>
                <c:pt idx="1">
                  <c:v>Mid 90</c:v>
                </c:pt>
                <c:pt idx="2">
                  <c:v>late 90</c:v>
                </c:pt>
                <c:pt idx="3">
                  <c:v>2000</c:v>
                </c:pt>
                <c:pt idx="4">
                  <c:v>2004</c:v>
                </c:pt>
                <c:pt idx="5">
                  <c:v>2006</c:v>
                </c:pt>
                <c:pt idx="6">
                  <c:v>2015</c:v>
                </c:pt>
                <c:pt idx="7">
                  <c:v>2019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30</c:v>
                </c:pt>
                <c:pt idx="5">
                  <c:v>35</c:v>
                </c:pt>
                <c:pt idx="6">
                  <c:v>45</c:v>
                </c:pt>
                <c:pt idx="7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4EE-44A7-9CB6-2999D81D3E7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1.3011141065258691E-2"/>
                  <c:y val="-0.44039270687237031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Graduated </a:t>
                    </a:r>
                    <a:r>
                      <a:rPr lang="en-US" baseline="0" err="1"/>
                      <a:t>SydneyU</a:t>
                    </a:r>
                    <a:endParaRPr lang="en-US" baseline="0"/>
                  </a:p>
                  <a:p>
                    <a:r>
                      <a:rPr lang="en-US" baseline="0"/>
                      <a:t>EE and BSc </a:t>
                    </a:r>
                  </a:p>
                  <a:p>
                    <a:r>
                      <a:rPr lang="en-US" baseline="0"/>
                      <a:t>Joined Telstra</a:t>
                    </a:r>
                  </a:p>
                  <a:p>
                    <a:r>
                      <a:rPr lang="en-US" baseline="0"/>
                      <a:t>Australia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4EE-44A7-9CB6-2999D81D3E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Early 90</c:v>
                </c:pt>
                <c:pt idx="1">
                  <c:v>Mid 90</c:v>
                </c:pt>
                <c:pt idx="2">
                  <c:v>late 90</c:v>
                </c:pt>
                <c:pt idx="3">
                  <c:v>2000</c:v>
                </c:pt>
                <c:pt idx="4">
                  <c:v>2004</c:v>
                </c:pt>
                <c:pt idx="5">
                  <c:v>2006</c:v>
                </c:pt>
                <c:pt idx="6">
                  <c:v>2015</c:v>
                </c:pt>
                <c:pt idx="7">
                  <c:v>2019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F4EE-44A7-9CB6-2999D81D3E7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Early 90</c:v>
                </c:pt>
                <c:pt idx="1">
                  <c:v>Mid 90</c:v>
                </c:pt>
                <c:pt idx="2">
                  <c:v>late 90</c:v>
                </c:pt>
                <c:pt idx="3">
                  <c:v>2000</c:v>
                </c:pt>
                <c:pt idx="4">
                  <c:v>2004</c:v>
                </c:pt>
                <c:pt idx="5">
                  <c:v>2006</c:v>
                </c:pt>
                <c:pt idx="6">
                  <c:v>2015</c:v>
                </c:pt>
                <c:pt idx="7">
                  <c:v>2019</c:v>
                </c:pt>
              </c:strCache>
            </c:strRef>
          </c:cat>
          <c:val>
            <c:numRef>
              <c:f>Sheet1!$D$2:$D$9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F4EE-44A7-9CB6-2999D81D3E7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781710344"/>
        <c:axId val="781713624"/>
      </c:lineChart>
      <c:catAx>
        <c:axId val="7817103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imelin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1713624"/>
        <c:crosses val="autoZero"/>
        <c:auto val="1"/>
        <c:lblAlgn val="ctr"/>
        <c:lblOffset val="100"/>
        <c:noMultiLvlLbl val="0"/>
      </c:catAx>
      <c:valAx>
        <c:axId val="781713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xperience Index</a:t>
                </a:r>
              </a:p>
            </c:rich>
          </c:tx>
          <c:layout>
            <c:manualLayout>
              <c:xMode val="edge"/>
              <c:yMode val="edge"/>
              <c:x val="2.6624221041009775E-2"/>
              <c:y val="0.2517675122306766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1710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effrey’ Career</a:t>
            </a:r>
            <a:r>
              <a:rPr lang="en-US" baseline="0"/>
              <a:t> Path</a:t>
            </a:r>
            <a:endParaRPr lang="en-US"/>
          </a:p>
        </c:rich>
      </c:tx>
      <c:layout>
        <c:manualLayout>
          <c:xMode val="edge"/>
          <c:yMode val="edge"/>
          <c:x val="0.3327817454570306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8773611967900412E-2"/>
          <c:y val="3.6244172570586999E-2"/>
          <c:w val="0.96011954193214555"/>
          <c:h val="0.7351337920067144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perience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8.936708574455425E-2"/>
                  <c:y val="-6.905575679747669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/>
                      <a:t>Graduated in Chinese</a:t>
                    </a:r>
                    <a:r>
                      <a:rPr lang="en-US" sz="1000" baseline="0"/>
                      <a:t> University in HK</a:t>
                    </a:r>
                    <a:endParaRPr lang="en-US" sz="100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976418195508555"/>
                      <c:h val="0.1152250113195878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F48-4AE8-AE81-A141894DBDD2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F48-4AE8-AE81-A141894DBDD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F48-4AE8-AE81-A141894DBDD2}"/>
                </c:ext>
              </c:extLst>
            </c:dLbl>
            <c:dLbl>
              <c:idx val="3"/>
              <c:layout>
                <c:manualLayout>
                  <c:x val="-0.4144311002171695"/>
                  <c:y val="-2.7194916150727433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Joined</a:t>
                    </a:r>
                    <a:r>
                      <a:rPr lang="en-US" baseline="0"/>
                      <a:t> </a:t>
                    </a:r>
                    <a:r>
                      <a:rPr lang="en-US" baseline="0" err="1"/>
                      <a:t>Alfacom</a:t>
                    </a:r>
                    <a:r>
                      <a:rPr lang="en-US" baseline="0"/>
                      <a:t> Solutions</a:t>
                    </a:r>
                  </a:p>
                  <a:p>
                    <a:endParaRPr lang="en-US"/>
                  </a:p>
                </c:rich>
              </c:tx>
              <c:dLblPos val="r"/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F48-4AE8-AE81-A141894DBDD2}"/>
                </c:ext>
              </c:extLst>
            </c:dLbl>
            <c:dLbl>
              <c:idx val="4"/>
              <c:layout>
                <c:manualLayout>
                  <c:x val="-0.38221391759817042"/>
                  <c:y val="0.1224914538893090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Joined</a:t>
                    </a:r>
                    <a:r>
                      <a:rPr lang="en-US" baseline="0"/>
                      <a:t> DMA Solutions 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F48-4AE8-AE81-A141894DBDD2}"/>
                </c:ext>
              </c:extLst>
            </c:dLbl>
            <c:dLbl>
              <c:idx val="5"/>
              <c:layout>
                <c:manualLayout>
                  <c:x val="-0.2860698159950999"/>
                  <c:y val="0.12096919864134446"/>
                </c:manualLayout>
              </c:layout>
              <c:tx>
                <c:rich>
                  <a:bodyPr/>
                  <a:lstStyle/>
                  <a:p>
                    <a:r>
                      <a:rPr lang="en-US" err="1"/>
                      <a:t>Pacificlink</a:t>
                    </a:r>
                    <a:r>
                      <a:rPr lang="en-US"/>
                      <a:t> and DMA became</a:t>
                    </a:r>
                    <a:r>
                      <a:rPr lang="en-US" baseline="0"/>
                      <a:t> Partner and</a:t>
                    </a:r>
                    <a:r>
                      <a:rPr lang="en-US"/>
                      <a:t> Shareholder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F48-4AE8-AE81-A141894DBDD2}"/>
                </c:ext>
              </c:extLst>
            </c:dLbl>
            <c:dLbl>
              <c:idx val="6"/>
              <c:layout>
                <c:manualLayout>
                  <c:x val="-9.4382088835573683E-2"/>
                  <c:y val="0.2272089761570827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000" b="0" i="0" u="none" strike="noStrike" kern="1200" baseline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Accenture</a:t>
                    </a:r>
                    <a:r>
                      <a:rPr lang="en-US" baseline="0"/>
                      <a:t> acquired 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00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defRPr>
                    </a:pPr>
                    <a:r>
                      <a:rPr lang="en-US" baseline="0" err="1"/>
                      <a:t>Pacificlink</a:t>
                    </a:r>
                    <a:r>
                      <a:rPr lang="en-US" baseline="0"/>
                      <a:t> and DMA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00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defRPr>
                    </a:pPr>
                    <a:endParaRPr lang="en-US" sz="1000" b="0" i="0" u="none" strike="noStrike" kern="1200" baseline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</a:endParaRP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00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defRPr>
                    </a:pPr>
                    <a:r>
                      <a:rPr lang="en-US" sz="1000" b="0" i="0" u="none" strike="noStrike" kern="1200" baseline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t>Joined Accenture </a:t>
                    </a:r>
                    <a:r>
                      <a:rPr lang="en-US" baseline="0"/>
                      <a:t>as Director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000" b="0" i="0" u="none" strike="noStrike" kern="1200" baseline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732599485581039"/>
                      <c:h val="0.169705469845722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AF48-4AE8-AE81-A141894DBDD2}"/>
                </c:ext>
              </c:extLst>
            </c:dLbl>
            <c:dLbl>
              <c:idx val="7"/>
              <c:layout>
                <c:manualLayout>
                  <c:x val="-4.1627588183945049E-3"/>
                  <c:y val="0.13465150567410378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Accenture </a:t>
                    </a:r>
                  </a:p>
                  <a:p>
                    <a:r>
                      <a:rPr lang="en-US"/>
                      <a:t>Delivery</a:t>
                    </a:r>
                    <a:r>
                      <a:rPr lang="en-US" baseline="0"/>
                      <a:t> Lead</a:t>
                    </a:r>
                  </a:p>
                  <a:p>
                    <a:r>
                      <a:rPr lang="en-US"/>
                      <a:t>Solution Architect</a:t>
                    </a:r>
                    <a:r>
                      <a:rPr lang="en-US" baseline="0"/>
                      <a:t> </a:t>
                    </a:r>
                    <a:endParaRPr lang="en-US"/>
                  </a:p>
                  <a:p>
                    <a:endParaRPr lang="en-US"/>
                  </a:p>
                  <a:p>
                    <a:r>
                      <a:rPr lang="en-US"/>
                      <a:t>Certified DSD</a:t>
                    </a:r>
                  </a:p>
                  <a:p>
                    <a:r>
                      <a:rPr lang="en-US"/>
                      <a:t>Certified </a:t>
                    </a:r>
                    <a:r>
                      <a:rPr lang="en-US" err="1"/>
                      <a:t>Agilist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F48-4AE8-AE81-A141894DBD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0</c:v>
                </c:pt>
                <c:pt idx="1">
                  <c:v>2002</c:v>
                </c:pt>
                <c:pt idx="2">
                  <c:v>2004</c:v>
                </c:pt>
                <c:pt idx="3">
                  <c:v>2006</c:v>
                </c:pt>
                <c:pt idx="4">
                  <c:v>2015</c:v>
                </c:pt>
                <c:pt idx="5">
                  <c:v>2019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8</c:v>
                </c:pt>
                <c:pt idx="3">
                  <c:v>16</c:v>
                </c:pt>
                <c:pt idx="4">
                  <c:v>30</c:v>
                </c:pt>
                <c:pt idx="5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F48-4AE8-AE81-A141894DBDD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1.3011141065258691E-2"/>
                  <c:y val="-0.44039270687237031"/>
                </c:manualLayout>
              </c:layout>
              <c:tx>
                <c:rich>
                  <a:bodyPr/>
                  <a:lstStyle/>
                  <a:p>
                    <a:r>
                      <a:rPr lang="en-US" baseline="0"/>
                      <a:t>Graduated </a:t>
                    </a:r>
                    <a:r>
                      <a:rPr lang="en-US" baseline="0" err="1"/>
                      <a:t>SydneyU</a:t>
                    </a:r>
                    <a:endParaRPr lang="en-US" baseline="0"/>
                  </a:p>
                  <a:p>
                    <a:r>
                      <a:rPr lang="en-US" baseline="0"/>
                      <a:t>EE and BSc </a:t>
                    </a:r>
                  </a:p>
                  <a:p>
                    <a:r>
                      <a:rPr lang="en-US" baseline="0"/>
                      <a:t>Joined Telstra</a:t>
                    </a:r>
                  </a:p>
                  <a:p>
                    <a:r>
                      <a:rPr lang="en-US" baseline="0"/>
                      <a:t>Australia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F48-4AE8-AE81-A141894DBD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0</c:v>
                </c:pt>
                <c:pt idx="1">
                  <c:v>2002</c:v>
                </c:pt>
                <c:pt idx="2">
                  <c:v>2004</c:v>
                </c:pt>
                <c:pt idx="3">
                  <c:v>2006</c:v>
                </c:pt>
                <c:pt idx="4">
                  <c:v>2015</c:v>
                </c:pt>
                <c:pt idx="5">
                  <c:v>2019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AF48-4AE8-AE81-A141894DBDD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0</c:v>
                </c:pt>
                <c:pt idx="1">
                  <c:v>2002</c:v>
                </c:pt>
                <c:pt idx="2">
                  <c:v>2004</c:v>
                </c:pt>
                <c:pt idx="3">
                  <c:v>2006</c:v>
                </c:pt>
                <c:pt idx="4">
                  <c:v>2015</c:v>
                </c:pt>
                <c:pt idx="5">
                  <c:v>2019</c:v>
                </c:pt>
              </c:numCache>
            </c:numRef>
          </c:cat>
          <c:val>
            <c:numRef>
              <c:f>Sheet1!$D$2:$D$7</c:f>
              <c:numCache>
                <c:formatCode>General</c:formatCode>
                <c:ptCount val="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AF48-4AE8-AE81-A141894DBDD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781710344"/>
        <c:axId val="781713624"/>
      </c:lineChart>
      <c:catAx>
        <c:axId val="7817103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imelin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1713624"/>
        <c:crosses val="autoZero"/>
        <c:auto val="1"/>
        <c:lblAlgn val="ctr"/>
        <c:lblOffset val="100"/>
        <c:noMultiLvlLbl val="0"/>
      </c:catAx>
      <c:valAx>
        <c:axId val="781713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xperience Index</a:t>
                </a:r>
              </a:p>
            </c:rich>
          </c:tx>
          <c:layout>
            <c:manualLayout>
              <c:xMode val="edge"/>
              <c:yMode val="edge"/>
              <c:x val="2.6624208019645091E-2"/>
              <c:y val="0.169437381414518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17103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7669</cdr:x>
      <cdr:y>0.53022</cdr:y>
    </cdr:from>
    <cdr:to>
      <cdr:x>0.29383</cdr:x>
      <cdr:y>0.73529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99C0BC0B-3520-40D2-ABC9-A19F37F935DC}"/>
            </a:ext>
          </a:extLst>
        </cdr:cNvPr>
        <cdr:cNvCxnSpPr/>
      </cdr:nvCxnSpPr>
      <cdr:spPr>
        <a:xfrm xmlns:a="http://schemas.openxmlformats.org/drawingml/2006/main" flipH="1">
          <a:off x="2275345" y="1799365"/>
          <a:ext cx="140970" cy="695966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4006</cdr:x>
      <cdr:y>0.43777</cdr:y>
    </cdr:from>
    <cdr:to>
      <cdr:x>0.46664</cdr:x>
      <cdr:y>0.63987</cdr:y>
    </cdr:to>
    <cdr:cxnSp macro="">
      <cdr:nvCxnSpPr>
        <cdr:cNvPr id="4" name="Straight Connector 3">
          <a:extLst xmlns:a="http://schemas.openxmlformats.org/drawingml/2006/main">
            <a:ext uri="{FF2B5EF4-FFF2-40B4-BE49-F238E27FC236}">
              <a16:creationId xmlns:a16="http://schemas.microsoft.com/office/drawing/2014/main" id="{0C657251-C45D-45BB-AE3A-98A7C7E98430}"/>
            </a:ext>
          </a:extLst>
        </cdr:cNvPr>
        <cdr:cNvCxnSpPr/>
      </cdr:nvCxnSpPr>
      <cdr:spPr>
        <a:xfrm xmlns:a="http://schemas.openxmlformats.org/drawingml/2006/main" flipV="1">
          <a:off x="3618873" y="1485640"/>
          <a:ext cx="218572" cy="685841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9173</cdr:x>
      <cdr:y>0.27724</cdr:y>
    </cdr:from>
    <cdr:to>
      <cdr:x>0.601</cdr:x>
      <cdr:y>0.5</cdr:y>
    </cdr:to>
    <cdr:cxnSp macro="">
      <cdr:nvCxnSpPr>
        <cdr:cNvPr id="11" name="Straight Connector 10">
          <a:extLst xmlns:a="http://schemas.openxmlformats.org/drawingml/2006/main">
            <a:ext uri="{FF2B5EF4-FFF2-40B4-BE49-F238E27FC236}">
              <a16:creationId xmlns:a16="http://schemas.microsoft.com/office/drawing/2014/main" id="{0A06115F-EEB7-4175-89C0-F19A0D0A3CA6}"/>
            </a:ext>
          </a:extLst>
        </cdr:cNvPr>
        <cdr:cNvCxnSpPr/>
      </cdr:nvCxnSpPr>
      <cdr:spPr>
        <a:xfrm xmlns:a="http://schemas.openxmlformats.org/drawingml/2006/main" flipH="1" flipV="1">
          <a:off x="4866145" y="940853"/>
          <a:ext cx="76200" cy="755971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5549</cdr:x>
      <cdr:y>0.30425</cdr:y>
    </cdr:from>
    <cdr:to>
      <cdr:x>0.80511</cdr:x>
      <cdr:y>0.38284</cdr:y>
    </cdr:to>
    <cdr:cxnSp macro="">
      <cdr:nvCxnSpPr>
        <cdr:cNvPr id="16" name="Straight Connector 15">
          <a:extLst xmlns:a="http://schemas.openxmlformats.org/drawingml/2006/main">
            <a:ext uri="{FF2B5EF4-FFF2-40B4-BE49-F238E27FC236}">
              <a16:creationId xmlns:a16="http://schemas.microsoft.com/office/drawing/2014/main" id="{4F92DEF5-60C2-497A-8E85-AF4466BF3769}"/>
            </a:ext>
          </a:extLst>
        </cdr:cNvPr>
        <cdr:cNvCxnSpPr/>
      </cdr:nvCxnSpPr>
      <cdr:spPr>
        <a:xfrm xmlns:a="http://schemas.openxmlformats.org/drawingml/2006/main" flipH="1" flipV="1">
          <a:off x="6212771" y="1032510"/>
          <a:ext cx="408088" cy="266699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39B431-7C8C-274A-BA33-7C21C85E3BE4}" type="datetime1">
              <a:rPr lang="it-IT" smtClean="0"/>
              <a:t>19/04/2020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B03916-887A-F043-AD49-BF0A69ACF5F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181277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D9682E-FB58-D249-BB85-C718355B86BE}" type="datetime1">
              <a:rPr lang="it-IT" smtClean="0"/>
              <a:t>19/04/2020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4168C7-CDE6-B24B-B7C6-F8E72CFBA85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600630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4168C7-CDE6-B24B-B7C6-F8E72CFBA85A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85460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4168C7-CDE6-B24B-B7C6-F8E72CFBA85A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71724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4168C7-CDE6-B24B-B7C6-F8E72CFBA85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30534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2.emf"/><Relationship Id="rId7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10" Type="http://schemas.openxmlformats.org/officeDocument/2006/relationships/image" Target="../media/image10.emf"/><Relationship Id="rId4" Type="http://schemas.openxmlformats.org/officeDocument/2006/relationships/image" Target="../media/image4.emf"/><Relationship Id="rId9" Type="http://schemas.openxmlformats.org/officeDocument/2006/relationships/image" Target="../media/image9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2.emf"/><Relationship Id="rId7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10" Type="http://schemas.openxmlformats.org/officeDocument/2006/relationships/image" Target="../media/image10.emf"/><Relationship Id="rId4" Type="http://schemas.openxmlformats.org/officeDocument/2006/relationships/image" Target="../media/image4.emf"/><Relationship Id="rId9" Type="http://schemas.openxmlformats.org/officeDocument/2006/relationships/image" Target="../media/image9.emf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1597818"/>
            <a:ext cx="8386686" cy="973931"/>
          </a:xfrm>
        </p:spPr>
        <p:txBody>
          <a:bodyPr/>
          <a:lstStyle>
            <a:lvl1pPr>
              <a:lnSpc>
                <a:spcPts val="3500"/>
              </a:lnSpc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33/35pt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2647949"/>
            <a:ext cx="8386686" cy="657225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Presentation </a:t>
            </a:r>
            <a:r>
              <a:rPr lang="it-IT" err="1"/>
              <a:t>Subtitle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Regular 20/24pt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4844988"/>
            <a:ext cx="799200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3" name="CasellaDiTesto 12"/>
          <p:cNvSpPr txBox="1"/>
          <p:nvPr userDrawn="1"/>
        </p:nvSpPr>
        <p:spPr>
          <a:xfrm>
            <a:off x="6337920" y="228600"/>
            <a:ext cx="1428323" cy="1489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200" b="1" err="1">
                <a:solidFill>
                  <a:schemeClr val="tx2"/>
                </a:solidFill>
              </a:rPr>
              <a:t>Department</a:t>
            </a:r>
            <a:r>
              <a:rPr lang="it-IT" sz="1200" b="1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14" name="CasellaDiTesto 13"/>
          <p:cNvSpPr txBox="1"/>
          <p:nvPr userDrawn="1"/>
        </p:nvSpPr>
        <p:spPr>
          <a:xfrm>
            <a:off x="6337920" y="714375"/>
            <a:ext cx="1428323" cy="1552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200" b="1">
                <a:solidFill>
                  <a:schemeClr val="tx2"/>
                </a:solidFill>
              </a:rPr>
              <a:t>Country:</a:t>
            </a:r>
          </a:p>
        </p:txBody>
      </p:sp>
      <p:sp>
        <p:nvSpPr>
          <p:cNvPr id="15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6338689" y="430934"/>
            <a:ext cx="2387600" cy="2667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it-IT" sz="1200" baseline="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it-IT" err="1"/>
              <a:t>Insert</a:t>
            </a:r>
            <a:r>
              <a:rPr lang="it-IT"/>
              <a:t> </a:t>
            </a:r>
            <a:r>
              <a:rPr lang="it-IT" err="1"/>
              <a:t>Department</a:t>
            </a:r>
            <a:r>
              <a:rPr lang="it-IT"/>
              <a:t> </a:t>
            </a:r>
            <a:r>
              <a:rPr lang="it-IT" err="1"/>
              <a:t>Name</a:t>
            </a:r>
            <a:endParaRPr lang="it-IT"/>
          </a:p>
        </p:txBody>
      </p:sp>
      <p:sp>
        <p:nvSpPr>
          <p:cNvPr id="16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6338689" y="917288"/>
            <a:ext cx="2387600" cy="2667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it-IT" sz="1200" baseline="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it-IT" err="1"/>
              <a:t>Insesdasrt</a:t>
            </a:r>
            <a:r>
              <a:rPr lang="it-IT"/>
              <a:t> Country </a:t>
            </a:r>
            <a:r>
              <a:rPr lang="it-IT" err="1"/>
              <a:t>Name</a:t>
            </a:r>
            <a:endParaRPr lang="it-IT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/>
          <a:srcRect r="21050"/>
          <a:stretch/>
        </p:blipFill>
        <p:spPr>
          <a:xfrm>
            <a:off x="1" y="0"/>
            <a:ext cx="200533" cy="5143500"/>
          </a:xfrm>
          <a:prstGeom prst="rect">
            <a:avLst/>
          </a:prstGeom>
        </p:spPr>
      </p:pic>
      <p:pic>
        <p:nvPicPr>
          <p:cNvPr id="11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7300" y="287166"/>
            <a:ext cx="864000" cy="70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9593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able + Text Big bulle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20" name="Segnaposto tabella 4"/>
          <p:cNvSpPr>
            <a:spLocks noGrp="1"/>
          </p:cNvSpPr>
          <p:nvPr>
            <p:ph type="tbl" sz="quarter" idx="19"/>
          </p:nvPr>
        </p:nvSpPr>
        <p:spPr>
          <a:xfrm>
            <a:off x="347663" y="1262063"/>
            <a:ext cx="8386762" cy="2232422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16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4" y="3572622"/>
            <a:ext cx="8391525" cy="976793"/>
          </a:xfrm>
        </p:spPr>
        <p:txBody>
          <a:bodyPr wrap="square"/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 typeface="Wingdings" charset="2"/>
              <a:buChar char="v"/>
              <a:defRPr sz="2000" b="1" i="0" baseline="0"/>
            </a:lvl1pPr>
            <a:lvl2pPr marL="410400" indent="-19440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Font typeface="Wingdings" charset="2"/>
              <a:buChar char="§"/>
              <a:defRPr sz="1000" baseline="0"/>
            </a:lvl2pPr>
            <a:lvl3pPr marL="410400" indent="-194400">
              <a:lnSpc>
                <a:spcPct val="100000"/>
              </a:lnSpc>
              <a:buClr>
                <a:schemeClr val="tx1"/>
              </a:buClr>
              <a:buFont typeface="Lucida Grande"/>
              <a:buChar char="-"/>
              <a:defRPr sz="1000"/>
            </a:lvl3pPr>
            <a:lvl4pPr marL="410400" indent="-194400">
              <a:lnSpc>
                <a:spcPct val="100000"/>
              </a:lnSpc>
              <a:defRPr sz="1000"/>
            </a:lvl4pPr>
            <a:lvl5pPr marL="410400" indent="-194400">
              <a:lnSpc>
                <a:spcPct val="100000"/>
              </a:lnSpc>
              <a:buClr>
                <a:schemeClr val="tx1"/>
              </a:buClr>
              <a:buFont typeface="Wingdings" charset="2"/>
              <a:buChar char="Ø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2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</p:spTree>
    <p:extLst>
      <p:ext uri="{BB962C8B-B14F-4D97-AF65-F5344CB8AC3E}">
        <p14:creationId xmlns:p14="http://schemas.microsoft.com/office/powerpoint/2010/main" val="30769632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harts + Tables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18" name="Segnaposto grafico 17"/>
          <p:cNvSpPr>
            <a:spLocks noGrp="1"/>
          </p:cNvSpPr>
          <p:nvPr>
            <p:ph type="chart" sz="quarter" idx="17"/>
          </p:nvPr>
        </p:nvSpPr>
        <p:spPr>
          <a:xfrm>
            <a:off x="4613301" y="1274130"/>
            <a:ext cx="4126071" cy="1575955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24" name="Segnaposto tabella 2"/>
          <p:cNvSpPr>
            <a:spLocks noGrp="1"/>
          </p:cNvSpPr>
          <p:nvPr>
            <p:ph type="tbl" sz="quarter" idx="21"/>
          </p:nvPr>
        </p:nvSpPr>
        <p:spPr>
          <a:xfrm>
            <a:off x="4613301" y="3049982"/>
            <a:ext cx="4120686" cy="1512709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sp>
        <p:nvSpPr>
          <p:cNvPr id="25" name="Segnaposto grafico 17"/>
          <p:cNvSpPr>
            <a:spLocks noGrp="1"/>
          </p:cNvSpPr>
          <p:nvPr>
            <p:ph type="chart" sz="quarter" idx="22"/>
          </p:nvPr>
        </p:nvSpPr>
        <p:spPr>
          <a:xfrm>
            <a:off x="347301" y="1274130"/>
            <a:ext cx="4126071" cy="1575955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26" name="Segnaposto tabella 2"/>
          <p:cNvSpPr>
            <a:spLocks noGrp="1"/>
          </p:cNvSpPr>
          <p:nvPr>
            <p:ph type="tbl" sz="quarter" idx="23"/>
          </p:nvPr>
        </p:nvSpPr>
        <p:spPr>
          <a:xfrm>
            <a:off x="347301" y="3049982"/>
            <a:ext cx="4120686" cy="1512709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7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17" name="Immagine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9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26483212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1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2" name="Freccia destra 1"/>
          <p:cNvSpPr/>
          <p:nvPr userDrawn="1"/>
        </p:nvSpPr>
        <p:spPr>
          <a:xfrm flipV="1">
            <a:off x="347301" y="2796102"/>
            <a:ext cx="8392070" cy="176645"/>
          </a:xfrm>
          <a:prstGeom prst="rightArrow">
            <a:avLst>
              <a:gd name="adj1" fmla="val 50000"/>
              <a:gd name="adj2" fmla="val 15130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4" hasCustomPrompt="1"/>
          </p:nvPr>
        </p:nvSpPr>
        <p:spPr>
          <a:xfrm>
            <a:off x="693161" y="2657701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10" name="Connettore 1 9"/>
          <p:cNvCxnSpPr/>
          <p:nvPr userDrawn="1"/>
        </p:nvCxnSpPr>
        <p:spPr>
          <a:xfrm>
            <a:off x="347301" y="2378365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1 21"/>
          <p:cNvCxnSpPr/>
          <p:nvPr userDrawn="1"/>
        </p:nvCxnSpPr>
        <p:spPr>
          <a:xfrm flipV="1">
            <a:off x="1047724" y="237836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1516304" y="2972747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32" name="Connettore 1 31"/>
          <p:cNvCxnSpPr/>
          <p:nvPr userDrawn="1"/>
        </p:nvCxnSpPr>
        <p:spPr>
          <a:xfrm>
            <a:off x="1170444" y="3382818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1 32"/>
          <p:cNvCxnSpPr/>
          <p:nvPr userDrawn="1"/>
        </p:nvCxnSpPr>
        <p:spPr>
          <a:xfrm flipV="1">
            <a:off x="1870867" y="316345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Segnaposto testo 3"/>
          <p:cNvSpPr>
            <a:spLocks noGrp="1"/>
          </p:cNvSpPr>
          <p:nvPr>
            <p:ph type="body" sz="quarter" idx="16" hasCustomPrompt="1"/>
          </p:nvPr>
        </p:nvSpPr>
        <p:spPr>
          <a:xfrm>
            <a:off x="2306144" y="2657701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35" name="Connettore 1 34"/>
          <p:cNvCxnSpPr/>
          <p:nvPr userDrawn="1"/>
        </p:nvCxnSpPr>
        <p:spPr>
          <a:xfrm>
            <a:off x="1960284" y="2378365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1 35"/>
          <p:cNvCxnSpPr/>
          <p:nvPr userDrawn="1"/>
        </p:nvCxnSpPr>
        <p:spPr>
          <a:xfrm flipV="1">
            <a:off x="2660707" y="237836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Segnaposto testo 3"/>
          <p:cNvSpPr>
            <a:spLocks noGrp="1"/>
          </p:cNvSpPr>
          <p:nvPr>
            <p:ph type="body" sz="quarter" idx="17" hasCustomPrompt="1"/>
          </p:nvPr>
        </p:nvSpPr>
        <p:spPr>
          <a:xfrm>
            <a:off x="3140364" y="2972747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41" name="Connettore 1 40"/>
          <p:cNvCxnSpPr/>
          <p:nvPr userDrawn="1"/>
        </p:nvCxnSpPr>
        <p:spPr>
          <a:xfrm>
            <a:off x="2794504" y="3382818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1 41"/>
          <p:cNvCxnSpPr/>
          <p:nvPr userDrawn="1"/>
        </p:nvCxnSpPr>
        <p:spPr>
          <a:xfrm flipV="1">
            <a:off x="3494927" y="316345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Segnaposto testo 3"/>
          <p:cNvSpPr>
            <a:spLocks noGrp="1"/>
          </p:cNvSpPr>
          <p:nvPr>
            <p:ph type="body" sz="quarter" idx="18" hasCustomPrompt="1"/>
          </p:nvPr>
        </p:nvSpPr>
        <p:spPr>
          <a:xfrm>
            <a:off x="3921076" y="2657701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44" name="Connettore 1 43"/>
          <p:cNvCxnSpPr/>
          <p:nvPr userDrawn="1"/>
        </p:nvCxnSpPr>
        <p:spPr>
          <a:xfrm>
            <a:off x="3575216" y="2378365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nettore 1 44"/>
          <p:cNvCxnSpPr/>
          <p:nvPr userDrawn="1"/>
        </p:nvCxnSpPr>
        <p:spPr>
          <a:xfrm flipV="1">
            <a:off x="4275639" y="237836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4764424" y="2972747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47" name="Connettore 1 46"/>
          <p:cNvCxnSpPr/>
          <p:nvPr userDrawn="1"/>
        </p:nvCxnSpPr>
        <p:spPr>
          <a:xfrm>
            <a:off x="4418564" y="3382818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1 47"/>
          <p:cNvCxnSpPr/>
          <p:nvPr userDrawn="1"/>
        </p:nvCxnSpPr>
        <p:spPr>
          <a:xfrm flipV="1">
            <a:off x="5118987" y="316345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Segnaposto testo 3"/>
          <p:cNvSpPr>
            <a:spLocks noGrp="1"/>
          </p:cNvSpPr>
          <p:nvPr>
            <p:ph type="body" sz="quarter" idx="20" hasCustomPrompt="1"/>
          </p:nvPr>
        </p:nvSpPr>
        <p:spPr>
          <a:xfrm>
            <a:off x="6373091" y="2972747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50" name="Connettore 1 49"/>
          <p:cNvCxnSpPr/>
          <p:nvPr userDrawn="1"/>
        </p:nvCxnSpPr>
        <p:spPr>
          <a:xfrm>
            <a:off x="6027231" y="3382818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nettore 1 50"/>
          <p:cNvCxnSpPr/>
          <p:nvPr userDrawn="1"/>
        </p:nvCxnSpPr>
        <p:spPr>
          <a:xfrm flipV="1">
            <a:off x="6727654" y="316345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5557715" y="2657701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53" name="Connettore 1 52"/>
          <p:cNvCxnSpPr/>
          <p:nvPr userDrawn="1"/>
        </p:nvCxnSpPr>
        <p:spPr>
          <a:xfrm>
            <a:off x="5211855" y="2378365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Connettore 1 53"/>
          <p:cNvCxnSpPr/>
          <p:nvPr userDrawn="1"/>
        </p:nvCxnSpPr>
        <p:spPr>
          <a:xfrm flipV="1">
            <a:off x="5912278" y="237836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7166350" y="2657701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56" name="Connettore 1 55"/>
          <p:cNvCxnSpPr/>
          <p:nvPr userDrawn="1"/>
        </p:nvCxnSpPr>
        <p:spPr>
          <a:xfrm>
            <a:off x="6820490" y="2378365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nettore 1 56"/>
          <p:cNvCxnSpPr/>
          <p:nvPr userDrawn="1"/>
        </p:nvCxnSpPr>
        <p:spPr>
          <a:xfrm flipV="1">
            <a:off x="7520913" y="237836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Segnaposto testo 59"/>
          <p:cNvSpPr>
            <a:spLocks noGrp="1"/>
          </p:cNvSpPr>
          <p:nvPr>
            <p:ph type="body" sz="quarter" idx="23"/>
          </p:nvPr>
        </p:nvSpPr>
        <p:spPr>
          <a:xfrm>
            <a:off x="347663" y="1246909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1" name="Segnaposto testo 59"/>
          <p:cNvSpPr>
            <a:spLocks noGrp="1"/>
          </p:cNvSpPr>
          <p:nvPr>
            <p:ph type="body" sz="quarter" idx="24"/>
          </p:nvPr>
        </p:nvSpPr>
        <p:spPr>
          <a:xfrm>
            <a:off x="1972526" y="1246909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2" name="Segnaposto testo 59"/>
          <p:cNvSpPr>
            <a:spLocks noGrp="1"/>
          </p:cNvSpPr>
          <p:nvPr>
            <p:ph type="body" sz="quarter" idx="25"/>
          </p:nvPr>
        </p:nvSpPr>
        <p:spPr>
          <a:xfrm>
            <a:off x="3575215" y="1246909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3" name="Segnaposto testo 59"/>
          <p:cNvSpPr>
            <a:spLocks noGrp="1"/>
          </p:cNvSpPr>
          <p:nvPr>
            <p:ph type="body" sz="quarter" idx="26"/>
          </p:nvPr>
        </p:nvSpPr>
        <p:spPr>
          <a:xfrm>
            <a:off x="5222869" y="1246909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Segnaposto testo 59"/>
          <p:cNvSpPr>
            <a:spLocks noGrp="1"/>
          </p:cNvSpPr>
          <p:nvPr>
            <p:ph type="body" sz="quarter" idx="27"/>
          </p:nvPr>
        </p:nvSpPr>
        <p:spPr>
          <a:xfrm>
            <a:off x="6844542" y="1246909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0" name="Segnaposto testo 59"/>
          <p:cNvSpPr>
            <a:spLocks noGrp="1"/>
          </p:cNvSpPr>
          <p:nvPr>
            <p:ph type="body" sz="quarter" idx="29"/>
          </p:nvPr>
        </p:nvSpPr>
        <p:spPr>
          <a:xfrm>
            <a:off x="1172318" y="3475182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1" name="Segnaposto testo 59"/>
          <p:cNvSpPr>
            <a:spLocks noGrp="1"/>
          </p:cNvSpPr>
          <p:nvPr>
            <p:ph type="body" sz="quarter" idx="30"/>
          </p:nvPr>
        </p:nvSpPr>
        <p:spPr>
          <a:xfrm>
            <a:off x="2794962" y="3475182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2" name="Segnaposto testo 59"/>
          <p:cNvSpPr>
            <a:spLocks noGrp="1"/>
          </p:cNvSpPr>
          <p:nvPr>
            <p:ph type="body" sz="quarter" idx="31"/>
          </p:nvPr>
        </p:nvSpPr>
        <p:spPr>
          <a:xfrm>
            <a:off x="4430806" y="3475182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3" name="Segnaposto testo 59"/>
          <p:cNvSpPr>
            <a:spLocks noGrp="1"/>
          </p:cNvSpPr>
          <p:nvPr>
            <p:ph type="body" sz="quarter" idx="32"/>
          </p:nvPr>
        </p:nvSpPr>
        <p:spPr>
          <a:xfrm>
            <a:off x="6027689" y="3475182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6" name="Immagine 6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5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67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254319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1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10219437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1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10" name="Segnaposto testo 18"/>
          <p:cNvSpPr>
            <a:spLocks noGrp="1"/>
          </p:cNvSpPr>
          <p:nvPr>
            <p:ph type="body" sz="quarter" idx="14" hasCustomPrompt="1"/>
          </p:nvPr>
        </p:nvSpPr>
        <p:spPr>
          <a:xfrm>
            <a:off x="4601684" y="1262063"/>
            <a:ext cx="4132303" cy="3283744"/>
          </a:xfrm>
        </p:spPr>
        <p:txBody>
          <a:bodyPr tIns="46800"/>
          <a:lstStyle>
            <a:lvl1pPr>
              <a:lnSpc>
                <a:spcPct val="100000"/>
              </a:lnSpc>
              <a:spcBef>
                <a:spcPts val="0"/>
              </a:spcBef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bla bla bla bla bla bla bla bla </a:t>
            </a:r>
          </a:p>
        </p:txBody>
      </p:sp>
      <p:sp>
        <p:nvSpPr>
          <p:cNvPr id="11" name="Segnaposto testo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7301" y="1262063"/>
            <a:ext cx="4132303" cy="3283744"/>
          </a:xfrm>
        </p:spPr>
        <p:txBody>
          <a:bodyPr tIns="50400"/>
          <a:lstStyle>
            <a:lvl1pPr>
              <a:lnSpc>
                <a:spcPct val="100000"/>
              </a:lnSpc>
              <a:defRPr sz="3600" b="1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79%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endParaRPr lang="it-IT"/>
          </a:p>
        </p:txBody>
      </p:sp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33320017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am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14" name="object 3"/>
          <p:cNvSpPr txBox="1"/>
          <p:nvPr userDrawn="1"/>
        </p:nvSpPr>
        <p:spPr>
          <a:xfrm>
            <a:off x="357774" y="537221"/>
            <a:ext cx="1335610" cy="2386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lang="it-IT" sz="2000" spc="0">
                <a:solidFill>
                  <a:schemeClr val="tx2"/>
                </a:solidFill>
                <a:latin typeface="Arial"/>
                <a:cs typeface="Arial"/>
              </a:rPr>
              <a:t>Team</a:t>
            </a:r>
            <a:endParaRPr sz="200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5" name="Segnaposto testo 5"/>
          <p:cNvSpPr>
            <a:spLocks noGrp="1"/>
          </p:cNvSpPr>
          <p:nvPr>
            <p:ph type="body" sz="quarter" idx="14" hasCustomPrompt="1"/>
          </p:nvPr>
        </p:nvSpPr>
        <p:spPr>
          <a:xfrm>
            <a:off x="347300" y="917973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18" name="Segnaposto testo 5"/>
          <p:cNvSpPr>
            <a:spLocks noGrp="1"/>
          </p:cNvSpPr>
          <p:nvPr>
            <p:ph type="body" sz="quarter" idx="16" hasCustomPrompt="1"/>
          </p:nvPr>
        </p:nvSpPr>
        <p:spPr>
          <a:xfrm>
            <a:off x="347300" y="1096928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19" name="Segnaposto testo 5"/>
          <p:cNvSpPr>
            <a:spLocks noGrp="1"/>
          </p:cNvSpPr>
          <p:nvPr>
            <p:ph type="body" sz="quarter" idx="17" hasCustomPrompt="1"/>
          </p:nvPr>
        </p:nvSpPr>
        <p:spPr>
          <a:xfrm>
            <a:off x="347663" y="12585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20" name="Segnaposto testo 5"/>
          <p:cNvSpPr>
            <a:spLocks noGrp="1"/>
          </p:cNvSpPr>
          <p:nvPr>
            <p:ph type="body" sz="quarter" idx="18" hasCustomPrompt="1"/>
          </p:nvPr>
        </p:nvSpPr>
        <p:spPr>
          <a:xfrm>
            <a:off x="347300" y="1420201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21" name="Segnaposto testo 5"/>
          <p:cNvSpPr>
            <a:spLocks noGrp="1"/>
          </p:cNvSpPr>
          <p:nvPr>
            <p:ph type="body" sz="quarter" idx="19" hasCustomPrompt="1"/>
          </p:nvPr>
        </p:nvSpPr>
        <p:spPr>
          <a:xfrm>
            <a:off x="347300" y="1662655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22" name="Segnaposto testo 5"/>
          <p:cNvSpPr>
            <a:spLocks noGrp="1"/>
          </p:cNvSpPr>
          <p:nvPr>
            <p:ph type="body" sz="quarter" idx="20" hasCustomPrompt="1"/>
          </p:nvPr>
        </p:nvSpPr>
        <p:spPr>
          <a:xfrm>
            <a:off x="347300" y="1841609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23" name="Segnaposto testo 5"/>
          <p:cNvSpPr>
            <a:spLocks noGrp="1"/>
          </p:cNvSpPr>
          <p:nvPr>
            <p:ph type="body" sz="quarter" idx="21" hasCustomPrompt="1"/>
          </p:nvPr>
        </p:nvSpPr>
        <p:spPr>
          <a:xfrm>
            <a:off x="347663" y="2003245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24" name="Segnaposto testo 5"/>
          <p:cNvSpPr>
            <a:spLocks noGrp="1"/>
          </p:cNvSpPr>
          <p:nvPr>
            <p:ph type="body" sz="quarter" idx="22" hasCustomPrompt="1"/>
          </p:nvPr>
        </p:nvSpPr>
        <p:spPr>
          <a:xfrm>
            <a:off x="347300" y="2164883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25" name="Segnaposto testo 5"/>
          <p:cNvSpPr>
            <a:spLocks noGrp="1"/>
          </p:cNvSpPr>
          <p:nvPr>
            <p:ph type="body" sz="quarter" idx="23" hasCustomPrompt="1"/>
          </p:nvPr>
        </p:nvSpPr>
        <p:spPr>
          <a:xfrm>
            <a:off x="347300" y="2413109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26" name="Segnaposto testo 5"/>
          <p:cNvSpPr>
            <a:spLocks noGrp="1"/>
          </p:cNvSpPr>
          <p:nvPr>
            <p:ph type="body" sz="quarter" idx="24" hasCustomPrompt="1"/>
          </p:nvPr>
        </p:nvSpPr>
        <p:spPr>
          <a:xfrm>
            <a:off x="347300" y="25920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27" name="Segnaposto testo 5"/>
          <p:cNvSpPr>
            <a:spLocks noGrp="1"/>
          </p:cNvSpPr>
          <p:nvPr>
            <p:ph type="body" sz="quarter" idx="25" hasCustomPrompt="1"/>
          </p:nvPr>
        </p:nvSpPr>
        <p:spPr>
          <a:xfrm>
            <a:off x="347663" y="2753700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28" name="Segnaposto testo 5"/>
          <p:cNvSpPr>
            <a:spLocks noGrp="1"/>
          </p:cNvSpPr>
          <p:nvPr>
            <p:ph type="body" sz="quarter" idx="26" hasCustomPrompt="1"/>
          </p:nvPr>
        </p:nvSpPr>
        <p:spPr>
          <a:xfrm>
            <a:off x="347300" y="2915337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29" name="Segnaposto testo 5"/>
          <p:cNvSpPr>
            <a:spLocks noGrp="1"/>
          </p:cNvSpPr>
          <p:nvPr>
            <p:ph type="body" sz="quarter" idx="27" hasCustomPrompt="1"/>
          </p:nvPr>
        </p:nvSpPr>
        <p:spPr>
          <a:xfrm>
            <a:off x="347300" y="3157791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30" name="Segnaposto testo 5"/>
          <p:cNvSpPr>
            <a:spLocks noGrp="1"/>
          </p:cNvSpPr>
          <p:nvPr>
            <p:ph type="body" sz="quarter" idx="28" hasCustomPrompt="1"/>
          </p:nvPr>
        </p:nvSpPr>
        <p:spPr>
          <a:xfrm>
            <a:off x="347300" y="3336746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31" name="Segnaposto testo 5"/>
          <p:cNvSpPr>
            <a:spLocks noGrp="1"/>
          </p:cNvSpPr>
          <p:nvPr>
            <p:ph type="body" sz="quarter" idx="29" hasCustomPrompt="1"/>
          </p:nvPr>
        </p:nvSpPr>
        <p:spPr>
          <a:xfrm>
            <a:off x="347663" y="3498382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32" name="Segnaposto testo 5"/>
          <p:cNvSpPr>
            <a:spLocks noGrp="1"/>
          </p:cNvSpPr>
          <p:nvPr>
            <p:ph type="body" sz="quarter" idx="30" hasCustomPrompt="1"/>
          </p:nvPr>
        </p:nvSpPr>
        <p:spPr>
          <a:xfrm>
            <a:off x="347300" y="3660019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33" name="Segnaposto testo 5"/>
          <p:cNvSpPr>
            <a:spLocks noGrp="1"/>
          </p:cNvSpPr>
          <p:nvPr>
            <p:ph type="body" sz="quarter" idx="31" hasCustomPrompt="1"/>
          </p:nvPr>
        </p:nvSpPr>
        <p:spPr>
          <a:xfrm>
            <a:off x="347300" y="3902474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34" name="Segnaposto testo 5"/>
          <p:cNvSpPr>
            <a:spLocks noGrp="1"/>
          </p:cNvSpPr>
          <p:nvPr>
            <p:ph type="body" sz="quarter" idx="32" hasCustomPrompt="1"/>
          </p:nvPr>
        </p:nvSpPr>
        <p:spPr>
          <a:xfrm>
            <a:off x="347300" y="4081428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33" hasCustomPrompt="1"/>
          </p:nvPr>
        </p:nvSpPr>
        <p:spPr>
          <a:xfrm>
            <a:off x="347663" y="42430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34" hasCustomPrompt="1"/>
          </p:nvPr>
        </p:nvSpPr>
        <p:spPr>
          <a:xfrm>
            <a:off x="347300" y="4404701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37" name="Segnaposto testo 5"/>
          <p:cNvSpPr>
            <a:spLocks noGrp="1"/>
          </p:cNvSpPr>
          <p:nvPr>
            <p:ph type="body" sz="quarter" idx="35" hasCustomPrompt="1"/>
          </p:nvPr>
        </p:nvSpPr>
        <p:spPr>
          <a:xfrm>
            <a:off x="4615095" y="917973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38" name="Segnaposto testo 5"/>
          <p:cNvSpPr>
            <a:spLocks noGrp="1"/>
          </p:cNvSpPr>
          <p:nvPr>
            <p:ph type="body" sz="quarter" idx="36" hasCustomPrompt="1"/>
          </p:nvPr>
        </p:nvSpPr>
        <p:spPr>
          <a:xfrm>
            <a:off x="4615095" y="1096928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39" name="Segnaposto testo 5"/>
          <p:cNvSpPr>
            <a:spLocks noGrp="1"/>
          </p:cNvSpPr>
          <p:nvPr>
            <p:ph type="body" sz="quarter" idx="37" hasCustomPrompt="1"/>
          </p:nvPr>
        </p:nvSpPr>
        <p:spPr>
          <a:xfrm>
            <a:off x="4615458" y="12585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40" name="Segnaposto testo 5"/>
          <p:cNvSpPr>
            <a:spLocks noGrp="1"/>
          </p:cNvSpPr>
          <p:nvPr>
            <p:ph type="body" sz="quarter" idx="38" hasCustomPrompt="1"/>
          </p:nvPr>
        </p:nvSpPr>
        <p:spPr>
          <a:xfrm>
            <a:off x="4615095" y="1420201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41" name="Segnaposto testo 5"/>
          <p:cNvSpPr>
            <a:spLocks noGrp="1"/>
          </p:cNvSpPr>
          <p:nvPr>
            <p:ph type="body" sz="quarter" idx="39" hasCustomPrompt="1"/>
          </p:nvPr>
        </p:nvSpPr>
        <p:spPr>
          <a:xfrm>
            <a:off x="4615095" y="1662655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42" name="Segnaposto testo 5"/>
          <p:cNvSpPr>
            <a:spLocks noGrp="1"/>
          </p:cNvSpPr>
          <p:nvPr>
            <p:ph type="body" sz="quarter" idx="40" hasCustomPrompt="1"/>
          </p:nvPr>
        </p:nvSpPr>
        <p:spPr>
          <a:xfrm>
            <a:off x="4615095" y="1841609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43" name="Segnaposto testo 5"/>
          <p:cNvSpPr>
            <a:spLocks noGrp="1"/>
          </p:cNvSpPr>
          <p:nvPr>
            <p:ph type="body" sz="quarter" idx="41" hasCustomPrompt="1"/>
          </p:nvPr>
        </p:nvSpPr>
        <p:spPr>
          <a:xfrm>
            <a:off x="4615458" y="2003245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44" name="Segnaposto testo 5"/>
          <p:cNvSpPr>
            <a:spLocks noGrp="1"/>
          </p:cNvSpPr>
          <p:nvPr>
            <p:ph type="body" sz="quarter" idx="42" hasCustomPrompt="1"/>
          </p:nvPr>
        </p:nvSpPr>
        <p:spPr>
          <a:xfrm>
            <a:off x="4615095" y="2164883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45" name="Segnaposto testo 5"/>
          <p:cNvSpPr>
            <a:spLocks noGrp="1"/>
          </p:cNvSpPr>
          <p:nvPr>
            <p:ph type="body" sz="quarter" idx="43" hasCustomPrompt="1"/>
          </p:nvPr>
        </p:nvSpPr>
        <p:spPr>
          <a:xfrm>
            <a:off x="4615095" y="2413109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46" name="Segnaposto testo 5"/>
          <p:cNvSpPr>
            <a:spLocks noGrp="1"/>
          </p:cNvSpPr>
          <p:nvPr>
            <p:ph type="body" sz="quarter" idx="44" hasCustomPrompt="1"/>
          </p:nvPr>
        </p:nvSpPr>
        <p:spPr>
          <a:xfrm>
            <a:off x="4615095" y="25920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47" name="Segnaposto testo 5"/>
          <p:cNvSpPr>
            <a:spLocks noGrp="1"/>
          </p:cNvSpPr>
          <p:nvPr>
            <p:ph type="body" sz="quarter" idx="45" hasCustomPrompt="1"/>
          </p:nvPr>
        </p:nvSpPr>
        <p:spPr>
          <a:xfrm>
            <a:off x="4615458" y="2753700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48" name="Segnaposto testo 5"/>
          <p:cNvSpPr>
            <a:spLocks noGrp="1"/>
          </p:cNvSpPr>
          <p:nvPr>
            <p:ph type="body" sz="quarter" idx="46" hasCustomPrompt="1"/>
          </p:nvPr>
        </p:nvSpPr>
        <p:spPr>
          <a:xfrm>
            <a:off x="4615095" y="2915337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49" name="Segnaposto testo 5"/>
          <p:cNvSpPr>
            <a:spLocks noGrp="1"/>
          </p:cNvSpPr>
          <p:nvPr>
            <p:ph type="body" sz="quarter" idx="47" hasCustomPrompt="1"/>
          </p:nvPr>
        </p:nvSpPr>
        <p:spPr>
          <a:xfrm>
            <a:off x="4615095" y="3157791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50" name="Segnaposto testo 5"/>
          <p:cNvSpPr>
            <a:spLocks noGrp="1"/>
          </p:cNvSpPr>
          <p:nvPr>
            <p:ph type="body" sz="quarter" idx="48" hasCustomPrompt="1"/>
          </p:nvPr>
        </p:nvSpPr>
        <p:spPr>
          <a:xfrm>
            <a:off x="4615095" y="3336746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51" name="Segnaposto testo 5"/>
          <p:cNvSpPr>
            <a:spLocks noGrp="1"/>
          </p:cNvSpPr>
          <p:nvPr>
            <p:ph type="body" sz="quarter" idx="49" hasCustomPrompt="1"/>
          </p:nvPr>
        </p:nvSpPr>
        <p:spPr>
          <a:xfrm>
            <a:off x="4615458" y="3498382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52" name="Segnaposto testo 5"/>
          <p:cNvSpPr>
            <a:spLocks noGrp="1"/>
          </p:cNvSpPr>
          <p:nvPr>
            <p:ph type="body" sz="quarter" idx="50" hasCustomPrompt="1"/>
          </p:nvPr>
        </p:nvSpPr>
        <p:spPr>
          <a:xfrm>
            <a:off x="4615095" y="3660019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53" name="Segnaposto testo 5"/>
          <p:cNvSpPr>
            <a:spLocks noGrp="1"/>
          </p:cNvSpPr>
          <p:nvPr>
            <p:ph type="body" sz="quarter" idx="51" hasCustomPrompt="1"/>
          </p:nvPr>
        </p:nvSpPr>
        <p:spPr>
          <a:xfrm>
            <a:off x="4615095" y="3902474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54" name="Segnaposto testo 5"/>
          <p:cNvSpPr>
            <a:spLocks noGrp="1"/>
          </p:cNvSpPr>
          <p:nvPr>
            <p:ph type="body" sz="quarter" idx="52" hasCustomPrompt="1"/>
          </p:nvPr>
        </p:nvSpPr>
        <p:spPr>
          <a:xfrm>
            <a:off x="4615095" y="4081428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55" name="Segnaposto testo 5"/>
          <p:cNvSpPr>
            <a:spLocks noGrp="1"/>
          </p:cNvSpPr>
          <p:nvPr>
            <p:ph type="body" sz="quarter" idx="53" hasCustomPrompt="1"/>
          </p:nvPr>
        </p:nvSpPr>
        <p:spPr>
          <a:xfrm>
            <a:off x="4615458" y="42430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56" name="Segnaposto testo 5"/>
          <p:cNvSpPr>
            <a:spLocks noGrp="1"/>
          </p:cNvSpPr>
          <p:nvPr>
            <p:ph type="body" sz="quarter" idx="54" hasCustomPrompt="1"/>
          </p:nvPr>
        </p:nvSpPr>
        <p:spPr>
          <a:xfrm>
            <a:off x="4615095" y="4404701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pic>
        <p:nvPicPr>
          <p:cNvPr id="58" name="Immagine 5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9315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9" name="object 3"/>
          <p:cNvSpPr txBox="1"/>
          <p:nvPr userDrawn="1"/>
        </p:nvSpPr>
        <p:spPr>
          <a:xfrm>
            <a:off x="357774" y="537221"/>
            <a:ext cx="2613256" cy="2386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lang="it-IT" sz="2000" spc="0" err="1">
                <a:solidFill>
                  <a:schemeClr val="tx2"/>
                </a:solidFill>
                <a:latin typeface="Arial"/>
                <a:cs typeface="Arial"/>
              </a:rPr>
              <a:t>Next</a:t>
            </a:r>
            <a:r>
              <a:rPr lang="it-IT" sz="2000" spc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it-IT" sz="2000" spc="0" err="1">
                <a:solidFill>
                  <a:schemeClr val="tx2"/>
                </a:solidFill>
                <a:latin typeface="Arial"/>
                <a:cs typeface="Arial"/>
              </a:rPr>
              <a:t>steps</a:t>
            </a:r>
            <a:endParaRPr sz="200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13" name="Segnaposto testo 54"/>
          <p:cNvSpPr>
            <a:spLocks noGrp="1"/>
          </p:cNvSpPr>
          <p:nvPr>
            <p:ph type="body" sz="quarter" idx="57" hasCustomPrompt="1"/>
          </p:nvPr>
        </p:nvSpPr>
        <p:spPr>
          <a:xfrm>
            <a:off x="4613299" y="91797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114" name="Segnaposto testo 54"/>
          <p:cNvSpPr>
            <a:spLocks noGrp="1"/>
          </p:cNvSpPr>
          <p:nvPr>
            <p:ph type="body" sz="quarter" idx="58" hasCustomPrompt="1"/>
          </p:nvPr>
        </p:nvSpPr>
        <p:spPr>
          <a:xfrm>
            <a:off x="4613301" y="112694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pic>
        <p:nvPicPr>
          <p:cNvPr id="37" name="Immagine 3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36" name="Segnaposto testo 54"/>
          <p:cNvSpPr>
            <a:spLocks noGrp="1"/>
          </p:cNvSpPr>
          <p:nvPr>
            <p:ph type="body" sz="quarter" idx="59" hasCustomPrompt="1"/>
          </p:nvPr>
        </p:nvSpPr>
        <p:spPr>
          <a:xfrm>
            <a:off x="386533" y="91797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38" name="Segnaposto testo 54"/>
          <p:cNvSpPr>
            <a:spLocks noGrp="1"/>
          </p:cNvSpPr>
          <p:nvPr>
            <p:ph type="body" sz="quarter" idx="60" hasCustomPrompt="1"/>
          </p:nvPr>
        </p:nvSpPr>
        <p:spPr>
          <a:xfrm>
            <a:off x="386535" y="112694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39" name="Segnaposto testo 54"/>
          <p:cNvSpPr>
            <a:spLocks noGrp="1"/>
          </p:cNvSpPr>
          <p:nvPr>
            <p:ph type="body" sz="quarter" idx="61" hasCustomPrompt="1"/>
          </p:nvPr>
        </p:nvSpPr>
        <p:spPr>
          <a:xfrm>
            <a:off x="4613299" y="168770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40" name="Segnaposto testo 54"/>
          <p:cNvSpPr>
            <a:spLocks noGrp="1"/>
          </p:cNvSpPr>
          <p:nvPr>
            <p:ph type="body" sz="quarter" idx="62" hasCustomPrompt="1"/>
          </p:nvPr>
        </p:nvSpPr>
        <p:spPr>
          <a:xfrm>
            <a:off x="4613301" y="189667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41" name="Segnaposto testo 54"/>
          <p:cNvSpPr>
            <a:spLocks noGrp="1"/>
          </p:cNvSpPr>
          <p:nvPr>
            <p:ph type="body" sz="quarter" idx="63" hasCustomPrompt="1"/>
          </p:nvPr>
        </p:nvSpPr>
        <p:spPr>
          <a:xfrm>
            <a:off x="386533" y="168770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42" name="Segnaposto testo 54"/>
          <p:cNvSpPr>
            <a:spLocks noGrp="1"/>
          </p:cNvSpPr>
          <p:nvPr>
            <p:ph type="body" sz="quarter" idx="64" hasCustomPrompt="1"/>
          </p:nvPr>
        </p:nvSpPr>
        <p:spPr>
          <a:xfrm>
            <a:off x="386535" y="189667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43" name="Segnaposto testo 54"/>
          <p:cNvSpPr>
            <a:spLocks noGrp="1"/>
          </p:cNvSpPr>
          <p:nvPr>
            <p:ph type="body" sz="quarter" idx="65" hasCustomPrompt="1"/>
          </p:nvPr>
        </p:nvSpPr>
        <p:spPr>
          <a:xfrm>
            <a:off x="4613299" y="2452788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44" name="Segnaposto testo 54"/>
          <p:cNvSpPr>
            <a:spLocks noGrp="1"/>
          </p:cNvSpPr>
          <p:nvPr>
            <p:ph type="body" sz="quarter" idx="66" hasCustomPrompt="1"/>
          </p:nvPr>
        </p:nvSpPr>
        <p:spPr>
          <a:xfrm>
            <a:off x="4613301" y="2661760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45" name="Segnaposto testo 54"/>
          <p:cNvSpPr>
            <a:spLocks noGrp="1"/>
          </p:cNvSpPr>
          <p:nvPr>
            <p:ph type="body" sz="quarter" idx="67" hasCustomPrompt="1"/>
          </p:nvPr>
        </p:nvSpPr>
        <p:spPr>
          <a:xfrm>
            <a:off x="386533" y="2452788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46" name="Segnaposto testo 54"/>
          <p:cNvSpPr>
            <a:spLocks noGrp="1"/>
          </p:cNvSpPr>
          <p:nvPr>
            <p:ph type="body" sz="quarter" idx="68" hasCustomPrompt="1"/>
          </p:nvPr>
        </p:nvSpPr>
        <p:spPr>
          <a:xfrm>
            <a:off x="386535" y="2661760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47" name="Segnaposto testo 54"/>
          <p:cNvSpPr>
            <a:spLocks noGrp="1"/>
          </p:cNvSpPr>
          <p:nvPr>
            <p:ph type="body" sz="quarter" idx="69" hasCustomPrompt="1"/>
          </p:nvPr>
        </p:nvSpPr>
        <p:spPr>
          <a:xfrm>
            <a:off x="4613299" y="321787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48" name="Segnaposto testo 54"/>
          <p:cNvSpPr>
            <a:spLocks noGrp="1"/>
          </p:cNvSpPr>
          <p:nvPr>
            <p:ph type="body" sz="quarter" idx="70" hasCustomPrompt="1"/>
          </p:nvPr>
        </p:nvSpPr>
        <p:spPr>
          <a:xfrm>
            <a:off x="4613301" y="342684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49" name="Segnaposto testo 54"/>
          <p:cNvSpPr>
            <a:spLocks noGrp="1"/>
          </p:cNvSpPr>
          <p:nvPr>
            <p:ph type="body" sz="quarter" idx="71" hasCustomPrompt="1"/>
          </p:nvPr>
        </p:nvSpPr>
        <p:spPr>
          <a:xfrm>
            <a:off x="386533" y="321787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50" name="Segnaposto testo 54"/>
          <p:cNvSpPr>
            <a:spLocks noGrp="1"/>
          </p:cNvSpPr>
          <p:nvPr>
            <p:ph type="body" sz="quarter" idx="72" hasCustomPrompt="1"/>
          </p:nvPr>
        </p:nvSpPr>
        <p:spPr>
          <a:xfrm>
            <a:off x="386535" y="342684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</p:spTree>
    <p:extLst>
      <p:ext uri="{BB962C8B-B14F-4D97-AF65-F5344CB8AC3E}">
        <p14:creationId xmlns:p14="http://schemas.microsoft.com/office/powerpoint/2010/main" val="41981714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hart + Numeric Highlight: 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8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17" name="Segnaposto grafico 20"/>
          <p:cNvSpPr>
            <a:spLocks noGrp="1"/>
          </p:cNvSpPr>
          <p:nvPr>
            <p:ph type="chart" sz="quarter" idx="17"/>
          </p:nvPr>
        </p:nvSpPr>
        <p:spPr>
          <a:xfrm>
            <a:off x="347301" y="1262063"/>
            <a:ext cx="4125913" cy="3283744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20" name="Segnaposto testo 2"/>
          <p:cNvSpPr>
            <a:spLocks noGrp="1"/>
          </p:cNvSpPr>
          <p:nvPr>
            <p:ph type="body" sz="quarter" idx="15" hasCustomPrompt="1"/>
          </p:nvPr>
        </p:nvSpPr>
        <p:spPr>
          <a:xfrm>
            <a:off x="4546121" y="1262063"/>
            <a:ext cx="4193251" cy="1144191"/>
          </a:xfrm>
        </p:spPr>
        <p:txBody>
          <a:bodyPr numCol="1" spcCol="144000"/>
          <a:lstStyle>
            <a:lvl1pPr>
              <a:lnSpc>
                <a:spcPct val="100000"/>
              </a:lnSpc>
              <a:spcAft>
                <a:spcPts val="1800"/>
              </a:spcAft>
              <a:defRPr sz="7200" b="1" i="0" baseline="0">
                <a:solidFill>
                  <a:srgbClr val="BD0D22"/>
                </a:solidFill>
              </a:defRPr>
            </a:lvl1pPr>
            <a:lvl2pPr marL="0" indent="0">
              <a:buFontTx/>
              <a:buNone/>
              <a:defRPr baseline="0"/>
            </a:lvl2pPr>
          </a:lstStyle>
          <a:p>
            <a:pPr lvl="0"/>
            <a:r>
              <a:rPr lang="it-IT"/>
              <a:t>000,1%</a:t>
            </a:r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18" hasCustomPrompt="1"/>
          </p:nvPr>
        </p:nvSpPr>
        <p:spPr>
          <a:xfrm>
            <a:off x="4546121" y="2458010"/>
            <a:ext cx="4193251" cy="2087797"/>
          </a:xfrm>
        </p:spPr>
        <p:txBody>
          <a:bodyPr/>
          <a:lstStyle>
            <a:lvl1pPr>
              <a:defRPr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it-IT"/>
              <a:t>Testo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5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8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32801646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4844988"/>
            <a:ext cx="799200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/>
          <a:srcRect r="21050"/>
          <a:stretch/>
        </p:blipFill>
        <p:spPr>
          <a:xfrm>
            <a:off x="1" y="0"/>
            <a:ext cx="200533" cy="5143500"/>
          </a:xfrm>
          <a:prstGeom prst="rect">
            <a:avLst/>
          </a:prstGeom>
        </p:spPr>
      </p:pic>
      <p:sp>
        <p:nvSpPr>
          <p:cNvPr id="11" name="CasellaDiTesto 10"/>
          <p:cNvSpPr txBox="1"/>
          <p:nvPr userDrawn="1"/>
        </p:nvSpPr>
        <p:spPr>
          <a:xfrm>
            <a:off x="347301" y="2273301"/>
            <a:ext cx="8399832" cy="3808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3300" b="1" baseline="0" err="1">
                <a:solidFill>
                  <a:schemeClr val="tx2"/>
                </a:solidFill>
              </a:rPr>
              <a:t>Thank</a:t>
            </a:r>
            <a:r>
              <a:rPr lang="it-IT" sz="3300" b="1" baseline="0">
                <a:solidFill>
                  <a:schemeClr val="tx2"/>
                </a:solidFill>
              </a:rPr>
              <a:t> </a:t>
            </a:r>
            <a:r>
              <a:rPr lang="it-IT" sz="3300" b="1" baseline="0" err="1">
                <a:solidFill>
                  <a:schemeClr val="tx2"/>
                </a:solidFill>
              </a:rPr>
              <a:t>You</a:t>
            </a:r>
            <a:r>
              <a:rPr lang="it-IT" sz="3300" b="1" baseline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2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347301" y="4013597"/>
            <a:ext cx="4580467" cy="12660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17" name="CasellaDiTesto 16"/>
          <p:cNvSpPr txBox="1"/>
          <p:nvPr userDrawn="1"/>
        </p:nvSpPr>
        <p:spPr>
          <a:xfrm>
            <a:off x="347302" y="3483842"/>
            <a:ext cx="4580465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000" b="1" baseline="0" err="1">
                <a:solidFill>
                  <a:schemeClr val="tx2"/>
                </a:solidFill>
              </a:rPr>
              <a:t>Contacts</a:t>
            </a:r>
            <a:r>
              <a:rPr lang="it-IT" sz="1000" b="1" baseline="0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20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347301" y="4204097"/>
            <a:ext cx="4580467" cy="12660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r>
              <a:rPr lang="it-IT"/>
              <a:t> +39 / Fax </a:t>
            </a:r>
            <a:r>
              <a:rPr lang="it-IT" err="1"/>
              <a:t>Number</a:t>
            </a:r>
            <a:r>
              <a:rPr lang="it-IT"/>
              <a:t> +39 </a:t>
            </a: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1" y="4394597"/>
            <a:ext cx="4580467" cy="12660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Website</a:t>
            </a:r>
          </a:p>
        </p:txBody>
      </p:sp>
      <p:sp>
        <p:nvSpPr>
          <p:cNvPr id="22" name="Segnaposto testo 3"/>
          <p:cNvSpPr>
            <a:spLocks noGrp="1"/>
          </p:cNvSpPr>
          <p:nvPr>
            <p:ph type="body" sz="quarter" idx="14" hasCustomPrompt="1"/>
          </p:nvPr>
        </p:nvSpPr>
        <p:spPr>
          <a:xfrm>
            <a:off x="347301" y="3823097"/>
            <a:ext cx="4580467" cy="12660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23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347301" y="3628558"/>
            <a:ext cx="4580467" cy="159051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err="1"/>
              <a:t>Department</a:t>
            </a:r>
            <a:endParaRPr lang="it-IT"/>
          </a:p>
        </p:txBody>
      </p:sp>
      <p:pic>
        <p:nvPicPr>
          <p:cNvPr id="19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7300" y="287166"/>
            <a:ext cx="864000" cy="703434"/>
          </a:xfrm>
          <a:prstGeom prst="rect">
            <a:avLst/>
          </a:prstGeom>
        </p:spPr>
      </p:pic>
      <p:pic>
        <p:nvPicPr>
          <p:cNvPr id="24" name="Picture 2" descr="C:\Users\Shirani\Desktop\Social_logo_red_background\Social_logo_red_background\YouTube-red.emf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125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" descr="C:\Users\Shirani\Desktop\Social_logo_red_background\Social_logo_red_background\Facebook-red.emf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012" y="4149199"/>
            <a:ext cx="346360" cy="345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C:\Users\Shirani\Desktop\Social_logo_red_background\Social_logo_red_background\Flickr-red.emf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3621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" descr="C:\Users\Shirani\Desktop\Social_logo_red_background\Social_logo_red_background\Google+_red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0629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 descr="C:\Users\Shirani\Desktop\Social_logo_red_background\Social_logo_red_background\LinkedIn-red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515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7" descr="C:\Users\Shirani\Desktop\Social_logo_red_background\Social_logo_red_background\SlideShare-red.emf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0119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8" descr="C:\Users\Shirani\Desktop\Social_logo_red_background\Social_logo_red_background\Twitter-red.emf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4133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86564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ack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10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547953"/>
            <a:ext cx="8386686" cy="306061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/>
              <a:t>Back-Up</a:t>
            </a:r>
          </a:p>
        </p:txBody>
      </p:sp>
      <p:sp>
        <p:nvSpPr>
          <p:cNvPr id="11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2596080"/>
            <a:ext cx="8386686" cy="6233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Back-Up </a:t>
            </a:r>
            <a:r>
              <a:rPr lang="it-IT" err="1"/>
              <a:t>Subtitle</a:t>
            </a:r>
            <a:r>
              <a:rPr lang="it-IT"/>
              <a:t>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Regular 20/24pt</a:t>
            </a:r>
          </a:p>
        </p:txBody>
      </p:sp>
      <p:sp>
        <p:nvSpPr>
          <p:cNvPr id="12" name="Segnaposto testo 2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1597819"/>
            <a:ext cx="8386686" cy="926306"/>
          </a:xfrm>
        </p:spPr>
        <p:txBody>
          <a:bodyPr/>
          <a:lstStyle>
            <a:lvl1pPr>
              <a:lnSpc>
                <a:spcPts val="3500"/>
              </a:lnSpc>
              <a:defRPr sz="3300" b="1" i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Back-Up Title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33/35pt</a:t>
            </a:r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26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13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547953"/>
            <a:ext cx="8386686" cy="318821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2691757"/>
            <a:ext cx="8386686" cy="63246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err="1"/>
              <a:t>Section</a:t>
            </a:r>
            <a:r>
              <a:rPr lang="it-IT"/>
              <a:t> </a:t>
            </a:r>
            <a:r>
              <a:rPr lang="it-IT" err="1"/>
              <a:t>Subtitle</a:t>
            </a:r>
            <a:r>
              <a:rPr lang="it-IT"/>
              <a:t>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Regular 20/24pt</a:t>
            </a:r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1597819"/>
            <a:ext cx="8386686" cy="1055838"/>
          </a:xfrm>
        </p:spPr>
        <p:txBody>
          <a:bodyPr/>
          <a:lstStyle>
            <a:lvl1pPr>
              <a:lnSpc>
                <a:spcPct val="100000"/>
              </a:lnSpc>
              <a:defRPr sz="3300" b="1" i="0" baseline="0"/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Title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33/35pt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9108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1597818"/>
            <a:ext cx="8386686" cy="973931"/>
          </a:xfrm>
        </p:spPr>
        <p:txBody>
          <a:bodyPr/>
          <a:lstStyle>
            <a:lvl1pPr>
              <a:lnSpc>
                <a:spcPts val="3500"/>
              </a:lnSpc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33/35pt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2647949"/>
            <a:ext cx="8386686" cy="657225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Presentation </a:t>
            </a:r>
            <a:r>
              <a:rPr lang="it-IT" err="1"/>
              <a:t>Subtitle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Regular 20/24pt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4844988"/>
            <a:ext cx="799200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E9BCA795-6DB1-0248-99D5-883AF2D12726}" type="datetime4">
              <a:rPr lang="it-IT" smtClean="0"/>
              <a:t>19 aprile 2020</a:t>
            </a:fld>
            <a:endParaRPr lang="it-IT"/>
          </a:p>
        </p:txBody>
      </p:sp>
      <p:sp>
        <p:nvSpPr>
          <p:cNvPr id="13" name="CasellaDiTesto 12"/>
          <p:cNvSpPr txBox="1"/>
          <p:nvPr userDrawn="1"/>
        </p:nvSpPr>
        <p:spPr>
          <a:xfrm>
            <a:off x="6337920" y="228600"/>
            <a:ext cx="1428323" cy="1489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200" b="1" err="1">
                <a:solidFill>
                  <a:schemeClr val="tx2"/>
                </a:solidFill>
              </a:rPr>
              <a:t>Department</a:t>
            </a:r>
            <a:r>
              <a:rPr lang="it-IT" sz="1200" b="1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14" name="CasellaDiTesto 13"/>
          <p:cNvSpPr txBox="1"/>
          <p:nvPr userDrawn="1"/>
        </p:nvSpPr>
        <p:spPr>
          <a:xfrm>
            <a:off x="6337920" y="714375"/>
            <a:ext cx="1428323" cy="1552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200" b="1">
                <a:solidFill>
                  <a:schemeClr val="tx2"/>
                </a:solidFill>
              </a:rPr>
              <a:t>Country:</a:t>
            </a:r>
          </a:p>
        </p:txBody>
      </p:sp>
      <p:sp>
        <p:nvSpPr>
          <p:cNvPr id="15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6338689" y="430934"/>
            <a:ext cx="2387600" cy="2667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it-IT" sz="1200" baseline="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it-IT" err="1"/>
              <a:t>Insert</a:t>
            </a:r>
            <a:r>
              <a:rPr lang="it-IT"/>
              <a:t> </a:t>
            </a:r>
            <a:r>
              <a:rPr lang="it-IT" err="1"/>
              <a:t>Department</a:t>
            </a:r>
            <a:r>
              <a:rPr lang="it-IT"/>
              <a:t> </a:t>
            </a:r>
            <a:r>
              <a:rPr lang="it-IT" err="1"/>
              <a:t>Name</a:t>
            </a:r>
            <a:endParaRPr lang="it-IT"/>
          </a:p>
        </p:txBody>
      </p:sp>
      <p:sp>
        <p:nvSpPr>
          <p:cNvPr id="16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6338689" y="917288"/>
            <a:ext cx="2387600" cy="2667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it-IT" sz="1200" baseline="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it-IT" err="1"/>
              <a:t>Insesdasrt</a:t>
            </a:r>
            <a:r>
              <a:rPr lang="it-IT"/>
              <a:t> Country </a:t>
            </a:r>
            <a:r>
              <a:rPr lang="it-IT" err="1"/>
              <a:t>Name</a:t>
            </a:r>
            <a:endParaRPr lang="it-IT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/>
          <a:srcRect r="21050"/>
          <a:stretch/>
        </p:blipFill>
        <p:spPr>
          <a:xfrm>
            <a:off x="1" y="0"/>
            <a:ext cx="200533" cy="5143500"/>
          </a:xfrm>
          <a:prstGeom prst="rect">
            <a:avLst/>
          </a:prstGeom>
        </p:spPr>
      </p:pic>
      <p:pic>
        <p:nvPicPr>
          <p:cNvPr id="11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7300" y="287166"/>
            <a:ext cx="864000" cy="70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1088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A03B9230-19A8-8540-840D-6775FFB41C6F}" type="datetime4">
              <a:rPr lang="it-IT" smtClean="0"/>
              <a:t>19 aprile 2020</a:t>
            </a:fld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13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547953"/>
            <a:ext cx="8386686" cy="318821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2691757"/>
            <a:ext cx="8386686" cy="63246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err="1"/>
              <a:t>Section</a:t>
            </a:r>
            <a:r>
              <a:rPr lang="it-IT"/>
              <a:t> </a:t>
            </a:r>
            <a:r>
              <a:rPr lang="it-IT" err="1"/>
              <a:t>Subtitle</a:t>
            </a:r>
            <a:r>
              <a:rPr lang="it-IT"/>
              <a:t>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Regular 20/24pt</a:t>
            </a:r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1597819"/>
            <a:ext cx="8386686" cy="1055838"/>
          </a:xfrm>
        </p:spPr>
        <p:txBody>
          <a:bodyPr/>
          <a:lstStyle>
            <a:lvl1pPr>
              <a:lnSpc>
                <a:spcPct val="100000"/>
              </a:lnSpc>
              <a:defRPr sz="3300" b="1" i="0" baseline="0"/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Title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33/35pt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6853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2FB5DAD-95EB-2446-9B8D-5B8A469D7762}" type="datetime4">
              <a:rPr lang="it-IT" smtClean="0"/>
              <a:t>19 aprile 2020</a:t>
            </a:fld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14" name="object 3"/>
          <p:cNvSpPr txBox="1"/>
          <p:nvPr userDrawn="1"/>
        </p:nvSpPr>
        <p:spPr>
          <a:xfrm>
            <a:off x="357774" y="537221"/>
            <a:ext cx="1335610" cy="2386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lang="it-IT" sz="2000" spc="0">
                <a:solidFill>
                  <a:schemeClr val="tx2"/>
                </a:solidFill>
                <a:latin typeface="Arial"/>
                <a:cs typeface="Arial"/>
              </a:rPr>
              <a:t>Agenda</a:t>
            </a:r>
            <a:endParaRPr sz="200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357188" y="918329"/>
            <a:ext cx="8382000" cy="3645942"/>
          </a:xfrm>
        </p:spPr>
        <p:txBody>
          <a:bodyPr bIns="0" numCol="2" spcCol="216000">
            <a:noAutofit/>
          </a:bodyPr>
          <a:lstStyle>
            <a:lvl1pPr marL="171450" indent="-1714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200" b="1" i="0" baseline="0"/>
            </a:lvl1pPr>
            <a:lvl2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200" baseline="0"/>
            </a:lvl2pPr>
            <a:lvl3pPr marL="5400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200" baseline="0"/>
            </a:lvl3pPr>
            <a:lvl4pPr marL="7344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200" baseline="0"/>
            </a:lvl4pPr>
            <a:lvl5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defRPr sz="12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882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Slide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CED1072C-08EA-7544-8354-9ABA248B0FB6}" type="datetime4">
              <a:rPr lang="it-IT" smtClean="0"/>
              <a:t>19 aprile 2020</a:t>
            </a:fld>
            <a:endParaRPr lang="it-IT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  <p:sp>
        <p:nvSpPr>
          <p:cNvPr id="1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6" name="Segnaposto contenuto 2"/>
          <p:cNvSpPr>
            <a:spLocks noGrp="1"/>
          </p:cNvSpPr>
          <p:nvPr>
            <p:ph sz="quarter" idx="15"/>
          </p:nvPr>
        </p:nvSpPr>
        <p:spPr>
          <a:xfrm>
            <a:off x="347664" y="1301819"/>
            <a:ext cx="8391525" cy="3243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4568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2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CC71D78F-7FDF-604A-AEFD-DD920B7AA314}" type="datetime4">
              <a:rPr lang="it-IT" smtClean="0"/>
              <a:t>19 aprile 2020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7" name="Segnaposto contenuto 2"/>
          <p:cNvSpPr>
            <a:spLocks noGrp="1"/>
          </p:cNvSpPr>
          <p:nvPr>
            <p:ph sz="quarter" idx="15"/>
          </p:nvPr>
        </p:nvSpPr>
        <p:spPr>
          <a:xfrm>
            <a:off x="347664" y="1301819"/>
            <a:ext cx="8391525" cy="3243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22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29064847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CEE1C3-FE3D-B94F-929F-E8C400EC6DC5}" type="datetime4">
              <a:rPr lang="it-IT" smtClean="0"/>
              <a:t>19 aprile 2020</a:t>
            </a:fld>
            <a:endParaRPr lang="it-IT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4" y="1262063"/>
            <a:ext cx="8391525" cy="3283744"/>
          </a:xfrm>
        </p:spPr>
        <p:txBody>
          <a:bodyPr wrap="square"/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 typeface="Wingdings" charset="2"/>
              <a:buChar char="v"/>
              <a:defRPr sz="2000" b="1" i="0" baseline="0"/>
            </a:lvl1pPr>
            <a:lvl2pPr marL="0" indent="-180000">
              <a:lnSpc>
                <a:spcPct val="100000"/>
              </a:lnSpc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000" baseline="0"/>
            </a:lvl2pPr>
            <a:lvl3pPr marL="0" indent="-180000">
              <a:lnSpc>
                <a:spcPct val="100000"/>
              </a:lnSpc>
              <a:buFont typeface="Arial"/>
              <a:buChar char="•"/>
              <a:defRPr sz="1000"/>
            </a:lvl3pPr>
            <a:lvl4pPr marL="0" indent="-180000">
              <a:lnSpc>
                <a:spcPct val="100000"/>
              </a:lnSpc>
              <a:defRPr sz="1000"/>
            </a:lvl4pPr>
            <a:lvl5pPr marL="0" indent="-180000">
              <a:lnSpc>
                <a:spcPct val="100000"/>
              </a:lnSpc>
              <a:buFont typeface="Arial"/>
              <a:buChar char="•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2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7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28752776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Item +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EC66330-A9FA-9243-A32F-99BD6DB6B492}" type="datetime4">
              <a:rPr lang="it-IT" smtClean="0"/>
              <a:t>19 aprile 2020</a:t>
            </a:fld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8"/>
          </p:nvPr>
        </p:nvSpPr>
        <p:spPr>
          <a:xfrm>
            <a:off x="347664" y="3569014"/>
            <a:ext cx="8391525" cy="976793"/>
          </a:xfrm>
        </p:spPr>
        <p:txBody>
          <a:bodyPr wrap="square" lIns="72000" tIns="72000" rIns="72000"/>
          <a:lstStyle>
            <a:lvl1pPr>
              <a:lnSpc>
                <a:spcPct val="100000"/>
              </a:lnSpc>
              <a:defRPr sz="800"/>
            </a:lvl1pPr>
            <a:lvl2pPr marL="194400" indent="-1944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ct val="100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ct val="100000"/>
              </a:lnSpc>
              <a:defRPr sz="800"/>
            </a:lvl4pPr>
            <a:lvl5pPr marL="460800" indent="-194400">
              <a:lnSpc>
                <a:spcPct val="100000"/>
              </a:lnSpc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Rettangolo 3"/>
          <p:cNvSpPr/>
          <p:nvPr userDrawn="1"/>
        </p:nvSpPr>
        <p:spPr>
          <a:xfrm>
            <a:off x="347301" y="3569014"/>
            <a:ext cx="8392071" cy="97679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17" name="Segnaposto contenuto 4"/>
          <p:cNvSpPr>
            <a:spLocks noGrp="1"/>
          </p:cNvSpPr>
          <p:nvPr>
            <p:ph sz="quarter" idx="21"/>
          </p:nvPr>
        </p:nvSpPr>
        <p:spPr>
          <a:xfrm>
            <a:off x="347664" y="1262063"/>
            <a:ext cx="8391525" cy="223242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20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1638115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 1 + Item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82E864DB-2452-B547-836C-B552F8EE2180}" type="datetime4">
              <a:rPr lang="it-IT" smtClean="0"/>
              <a:t>19 aprile 2020</a:t>
            </a:fld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20"/>
          </p:nvPr>
        </p:nvSpPr>
        <p:spPr>
          <a:xfrm>
            <a:off x="347664" y="1262062"/>
            <a:ext cx="8391525" cy="976793"/>
          </a:xfrm>
        </p:spPr>
        <p:txBody>
          <a:bodyPr wrap="square" lIns="72000" tIns="72000" rIns="72000"/>
          <a:lstStyle>
            <a:lvl1pPr>
              <a:lnSpc>
                <a:spcPct val="100000"/>
              </a:lnSpc>
              <a:defRPr sz="800"/>
            </a:lvl1pPr>
            <a:lvl2pPr marL="194400" indent="-1944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ct val="100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ct val="100000"/>
              </a:lnSpc>
              <a:defRPr sz="800"/>
            </a:lvl4pPr>
            <a:lvl5pPr marL="460800" indent="-194400">
              <a:lnSpc>
                <a:spcPct val="100000"/>
              </a:lnSpc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21" name="Rettangolo 20"/>
          <p:cNvSpPr/>
          <p:nvPr userDrawn="1"/>
        </p:nvSpPr>
        <p:spPr>
          <a:xfrm>
            <a:off x="347301" y="1262062"/>
            <a:ext cx="8392071" cy="97679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20" name="Segnaposto contenuto 2"/>
          <p:cNvSpPr>
            <a:spLocks noGrp="1"/>
          </p:cNvSpPr>
          <p:nvPr>
            <p:ph sz="quarter" idx="22"/>
          </p:nvPr>
        </p:nvSpPr>
        <p:spPr>
          <a:xfrm>
            <a:off x="347664" y="2313385"/>
            <a:ext cx="8391525" cy="223242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22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11594940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 + Item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80152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0963D586-4C06-5F47-87D8-09FFD804055F}" type="datetime4">
              <a:rPr lang="it-IT" smtClean="0"/>
              <a:t>19 aprile 2020</a:t>
            </a:fld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14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4" y="1262063"/>
            <a:ext cx="4132303" cy="328374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3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15" name="Segnaposto contenuto 2"/>
          <p:cNvSpPr>
            <a:spLocks noGrp="1"/>
          </p:cNvSpPr>
          <p:nvPr>
            <p:ph sz="quarter" idx="17"/>
          </p:nvPr>
        </p:nvSpPr>
        <p:spPr>
          <a:xfrm>
            <a:off x="4613276" y="1262063"/>
            <a:ext cx="4125913" cy="328374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7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30157807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able + Text Big bulle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EC66330-A9FA-9243-A32F-99BD6DB6B492}" type="datetime4">
              <a:rPr lang="it-IT" smtClean="0"/>
              <a:t>19 aprile 2020</a:t>
            </a:fld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20" name="Segnaposto tabella 4"/>
          <p:cNvSpPr>
            <a:spLocks noGrp="1"/>
          </p:cNvSpPr>
          <p:nvPr>
            <p:ph type="tbl" sz="quarter" idx="19"/>
          </p:nvPr>
        </p:nvSpPr>
        <p:spPr>
          <a:xfrm>
            <a:off x="347663" y="1262063"/>
            <a:ext cx="8386762" cy="2232422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16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4" y="3572622"/>
            <a:ext cx="8391525" cy="976793"/>
          </a:xfrm>
        </p:spPr>
        <p:txBody>
          <a:bodyPr wrap="square"/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 typeface="Wingdings" charset="2"/>
              <a:buChar char="v"/>
              <a:defRPr sz="2000" b="1" i="0" baseline="0"/>
            </a:lvl1pPr>
            <a:lvl2pPr marL="410400" indent="-19440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Font typeface="Wingdings" charset="2"/>
              <a:buChar char="§"/>
              <a:defRPr sz="1000" baseline="0"/>
            </a:lvl2pPr>
            <a:lvl3pPr marL="410400" indent="-194400">
              <a:lnSpc>
                <a:spcPct val="100000"/>
              </a:lnSpc>
              <a:buClr>
                <a:schemeClr val="tx1"/>
              </a:buClr>
              <a:buFont typeface="Lucida Grande"/>
              <a:buChar char="-"/>
              <a:defRPr sz="1000"/>
            </a:lvl3pPr>
            <a:lvl4pPr marL="410400" indent="-194400">
              <a:lnSpc>
                <a:spcPct val="100000"/>
              </a:lnSpc>
              <a:defRPr sz="1000"/>
            </a:lvl4pPr>
            <a:lvl5pPr marL="410400" indent="-194400">
              <a:lnSpc>
                <a:spcPct val="100000"/>
              </a:lnSpc>
              <a:buClr>
                <a:schemeClr val="tx1"/>
              </a:buClr>
              <a:buFont typeface="Wingdings" charset="2"/>
              <a:buChar char="Ø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2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</p:spTree>
    <p:extLst>
      <p:ext uri="{BB962C8B-B14F-4D97-AF65-F5344CB8AC3E}">
        <p14:creationId xmlns:p14="http://schemas.microsoft.com/office/powerpoint/2010/main" val="1785373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14" name="object 3"/>
          <p:cNvSpPr txBox="1"/>
          <p:nvPr userDrawn="1"/>
        </p:nvSpPr>
        <p:spPr>
          <a:xfrm>
            <a:off x="357774" y="537221"/>
            <a:ext cx="1335610" cy="2386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lang="it-IT" sz="2000" spc="0">
                <a:solidFill>
                  <a:schemeClr val="tx2"/>
                </a:solidFill>
                <a:latin typeface="Arial"/>
                <a:cs typeface="Arial"/>
              </a:rPr>
              <a:t>Agenda</a:t>
            </a:r>
            <a:endParaRPr sz="200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357188" y="918329"/>
            <a:ext cx="8382000" cy="3645942"/>
          </a:xfrm>
        </p:spPr>
        <p:txBody>
          <a:bodyPr bIns="0" numCol="2" spcCol="216000">
            <a:noAutofit/>
          </a:bodyPr>
          <a:lstStyle>
            <a:lvl1pPr marL="171450" indent="-1714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200" b="1" i="0" baseline="0"/>
            </a:lvl1pPr>
            <a:lvl2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200" baseline="0"/>
            </a:lvl2pPr>
            <a:lvl3pPr marL="5400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200" baseline="0"/>
            </a:lvl3pPr>
            <a:lvl4pPr marL="7344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200" baseline="0"/>
            </a:lvl4pPr>
            <a:lvl5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defRPr sz="12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186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harts + Tables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5BE9C2E3-9CE0-B644-BE36-B0C89A7CAE94}" type="datetime4">
              <a:rPr lang="it-IT" smtClean="0"/>
              <a:t>19 aprile 2020</a:t>
            </a:fld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18" name="Segnaposto grafico 17"/>
          <p:cNvSpPr>
            <a:spLocks noGrp="1"/>
          </p:cNvSpPr>
          <p:nvPr>
            <p:ph type="chart" sz="quarter" idx="17"/>
          </p:nvPr>
        </p:nvSpPr>
        <p:spPr>
          <a:xfrm>
            <a:off x="4613301" y="1274130"/>
            <a:ext cx="4126071" cy="1575955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24" name="Segnaposto tabella 2"/>
          <p:cNvSpPr>
            <a:spLocks noGrp="1"/>
          </p:cNvSpPr>
          <p:nvPr>
            <p:ph type="tbl" sz="quarter" idx="21"/>
          </p:nvPr>
        </p:nvSpPr>
        <p:spPr>
          <a:xfrm>
            <a:off x="4613301" y="3049982"/>
            <a:ext cx="4120686" cy="1512709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sp>
        <p:nvSpPr>
          <p:cNvPr id="25" name="Segnaposto grafico 17"/>
          <p:cNvSpPr>
            <a:spLocks noGrp="1"/>
          </p:cNvSpPr>
          <p:nvPr>
            <p:ph type="chart" sz="quarter" idx="22"/>
          </p:nvPr>
        </p:nvSpPr>
        <p:spPr>
          <a:xfrm>
            <a:off x="347301" y="1274130"/>
            <a:ext cx="4126071" cy="1575955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26" name="Segnaposto tabella 2"/>
          <p:cNvSpPr>
            <a:spLocks noGrp="1"/>
          </p:cNvSpPr>
          <p:nvPr>
            <p:ph type="tbl" sz="quarter" idx="23"/>
          </p:nvPr>
        </p:nvSpPr>
        <p:spPr>
          <a:xfrm>
            <a:off x="347301" y="3049982"/>
            <a:ext cx="4120686" cy="1512709"/>
          </a:xfrm>
        </p:spPr>
        <p:txBody>
          <a:bodyPr/>
          <a:lstStyle/>
          <a:p>
            <a:r>
              <a:rPr lang="en-US"/>
              <a:t>Click icon to add table</a:t>
            </a:r>
            <a:endParaRPr lang="it-IT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7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17" name="Immagine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9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42843819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D80EE89-5913-7647-8C31-0801FAD3084B}" type="datetime4">
              <a:rPr lang="it-IT" smtClean="0"/>
              <a:t>19 aprile 2020</a:t>
            </a:fld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1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2" name="Freccia destra 1"/>
          <p:cNvSpPr/>
          <p:nvPr userDrawn="1"/>
        </p:nvSpPr>
        <p:spPr>
          <a:xfrm flipV="1">
            <a:off x="347301" y="2796102"/>
            <a:ext cx="8392070" cy="176645"/>
          </a:xfrm>
          <a:prstGeom prst="rightArrow">
            <a:avLst>
              <a:gd name="adj1" fmla="val 50000"/>
              <a:gd name="adj2" fmla="val 15130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4" hasCustomPrompt="1"/>
          </p:nvPr>
        </p:nvSpPr>
        <p:spPr>
          <a:xfrm>
            <a:off x="693161" y="2657701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10" name="Connettore 1 9"/>
          <p:cNvCxnSpPr/>
          <p:nvPr userDrawn="1"/>
        </p:nvCxnSpPr>
        <p:spPr>
          <a:xfrm>
            <a:off x="347301" y="2378365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1 21"/>
          <p:cNvCxnSpPr/>
          <p:nvPr userDrawn="1"/>
        </p:nvCxnSpPr>
        <p:spPr>
          <a:xfrm flipV="1">
            <a:off x="1047724" y="237836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1516304" y="2972747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32" name="Connettore 1 31"/>
          <p:cNvCxnSpPr/>
          <p:nvPr userDrawn="1"/>
        </p:nvCxnSpPr>
        <p:spPr>
          <a:xfrm>
            <a:off x="1170444" y="3382818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1 32"/>
          <p:cNvCxnSpPr/>
          <p:nvPr userDrawn="1"/>
        </p:nvCxnSpPr>
        <p:spPr>
          <a:xfrm flipV="1">
            <a:off x="1870867" y="316345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Segnaposto testo 3"/>
          <p:cNvSpPr>
            <a:spLocks noGrp="1"/>
          </p:cNvSpPr>
          <p:nvPr>
            <p:ph type="body" sz="quarter" idx="16" hasCustomPrompt="1"/>
          </p:nvPr>
        </p:nvSpPr>
        <p:spPr>
          <a:xfrm>
            <a:off x="2306144" y="2657701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35" name="Connettore 1 34"/>
          <p:cNvCxnSpPr/>
          <p:nvPr userDrawn="1"/>
        </p:nvCxnSpPr>
        <p:spPr>
          <a:xfrm>
            <a:off x="1960284" y="2378365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1 35"/>
          <p:cNvCxnSpPr/>
          <p:nvPr userDrawn="1"/>
        </p:nvCxnSpPr>
        <p:spPr>
          <a:xfrm flipV="1">
            <a:off x="2660707" y="237836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Segnaposto testo 3"/>
          <p:cNvSpPr>
            <a:spLocks noGrp="1"/>
          </p:cNvSpPr>
          <p:nvPr>
            <p:ph type="body" sz="quarter" idx="17" hasCustomPrompt="1"/>
          </p:nvPr>
        </p:nvSpPr>
        <p:spPr>
          <a:xfrm>
            <a:off x="3140364" y="2972747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41" name="Connettore 1 40"/>
          <p:cNvCxnSpPr/>
          <p:nvPr userDrawn="1"/>
        </p:nvCxnSpPr>
        <p:spPr>
          <a:xfrm>
            <a:off x="2794504" y="3382818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1 41"/>
          <p:cNvCxnSpPr/>
          <p:nvPr userDrawn="1"/>
        </p:nvCxnSpPr>
        <p:spPr>
          <a:xfrm flipV="1">
            <a:off x="3494927" y="316345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Segnaposto testo 3"/>
          <p:cNvSpPr>
            <a:spLocks noGrp="1"/>
          </p:cNvSpPr>
          <p:nvPr>
            <p:ph type="body" sz="quarter" idx="18" hasCustomPrompt="1"/>
          </p:nvPr>
        </p:nvSpPr>
        <p:spPr>
          <a:xfrm>
            <a:off x="3921076" y="2657701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44" name="Connettore 1 43"/>
          <p:cNvCxnSpPr/>
          <p:nvPr userDrawn="1"/>
        </p:nvCxnSpPr>
        <p:spPr>
          <a:xfrm>
            <a:off x="3575216" y="2378365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nettore 1 44"/>
          <p:cNvCxnSpPr/>
          <p:nvPr userDrawn="1"/>
        </p:nvCxnSpPr>
        <p:spPr>
          <a:xfrm flipV="1">
            <a:off x="4275639" y="237836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4764424" y="2972747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47" name="Connettore 1 46"/>
          <p:cNvCxnSpPr/>
          <p:nvPr userDrawn="1"/>
        </p:nvCxnSpPr>
        <p:spPr>
          <a:xfrm>
            <a:off x="4418564" y="3382818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1 47"/>
          <p:cNvCxnSpPr/>
          <p:nvPr userDrawn="1"/>
        </p:nvCxnSpPr>
        <p:spPr>
          <a:xfrm flipV="1">
            <a:off x="5118987" y="316345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Segnaposto testo 3"/>
          <p:cNvSpPr>
            <a:spLocks noGrp="1"/>
          </p:cNvSpPr>
          <p:nvPr>
            <p:ph type="body" sz="quarter" idx="20" hasCustomPrompt="1"/>
          </p:nvPr>
        </p:nvSpPr>
        <p:spPr>
          <a:xfrm>
            <a:off x="6373091" y="2972747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50" name="Connettore 1 49"/>
          <p:cNvCxnSpPr/>
          <p:nvPr userDrawn="1"/>
        </p:nvCxnSpPr>
        <p:spPr>
          <a:xfrm>
            <a:off x="6027231" y="3382818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nettore 1 50"/>
          <p:cNvCxnSpPr/>
          <p:nvPr userDrawn="1"/>
        </p:nvCxnSpPr>
        <p:spPr>
          <a:xfrm flipV="1">
            <a:off x="6727654" y="316345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5557715" y="2657701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53" name="Connettore 1 52"/>
          <p:cNvCxnSpPr/>
          <p:nvPr userDrawn="1"/>
        </p:nvCxnSpPr>
        <p:spPr>
          <a:xfrm>
            <a:off x="5211855" y="2378365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Connettore 1 53"/>
          <p:cNvCxnSpPr/>
          <p:nvPr userDrawn="1"/>
        </p:nvCxnSpPr>
        <p:spPr>
          <a:xfrm flipV="1">
            <a:off x="5912278" y="237836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7166350" y="2657701"/>
            <a:ext cx="707688" cy="138401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it-IT"/>
              <a:t>Data</a:t>
            </a:r>
          </a:p>
        </p:txBody>
      </p:sp>
      <p:cxnSp>
        <p:nvCxnSpPr>
          <p:cNvPr id="56" name="Connettore 1 55"/>
          <p:cNvCxnSpPr/>
          <p:nvPr userDrawn="1"/>
        </p:nvCxnSpPr>
        <p:spPr>
          <a:xfrm>
            <a:off x="6820490" y="2378365"/>
            <a:ext cx="137682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nettore 1 56"/>
          <p:cNvCxnSpPr/>
          <p:nvPr userDrawn="1"/>
        </p:nvCxnSpPr>
        <p:spPr>
          <a:xfrm flipV="1">
            <a:off x="7520913" y="2378365"/>
            <a:ext cx="0" cy="219363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Segnaposto testo 59"/>
          <p:cNvSpPr>
            <a:spLocks noGrp="1"/>
          </p:cNvSpPr>
          <p:nvPr>
            <p:ph type="body" sz="quarter" idx="23"/>
          </p:nvPr>
        </p:nvSpPr>
        <p:spPr>
          <a:xfrm>
            <a:off x="347663" y="1246909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1" name="Segnaposto testo 59"/>
          <p:cNvSpPr>
            <a:spLocks noGrp="1"/>
          </p:cNvSpPr>
          <p:nvPr>
            <p:ph type="body" sz="quarter" idx="24"/>
          </p:nvPr>
        </p:nvSpPr>
        <p:spPr>
          <a:xfrm>
            <a:off x="1972526" y="1246909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2" name="Segnaposto testo 59"/>
          <p:cNvSpPr>
            <a:spLocks noGrp="1"/>
          </p:cNvSpPr>
          <p:nvPr>
            <p:ph type="body" sz="quarter" idx="25"/>
          </p:nvPr>
        </p:nvSpPr>
        <p:spPr>
          <a:xfrm>
            <a:off x="3575215" y="1246909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3" name="Segnaposto testo 59"/>
          <p:cNvSpPr>
            <a:spLocks noGrp="1"/>
          </p:cNvSpPr>
          <p:nvPr>
            <p:ph type="body" sz="quarter" idx="26"/>
          </p:nvPr>
        </p:nvSpPr>
        <p:spPr>
          <a:xfrm>
            <a:off x="5222869" y="1246909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Segnaposto testo 59"/>
          <p:cNvSpPr>
            <a:spLocks noGrp="1"/>
          </p:cNvSpPr>
          <p:nvPr>
            <p:ph type="body" sz="quarter" idx="27"/>
          </p:nvPr>
        </p:nvSpPr>
        <p:spPr>
          <a:xfrm>
            <a:off x="6844542" y="1246909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0" name="Segnaposto testo 59"/>
          <p:cNvSpPr>
            <a:spLocks noGrp="1"/>
          </p:cNvSpPr>
          <p:nvPr>
            <p:ph type="body" sz="quarter" idx="29"/>
          </p:nvPr>
        </p:nvSpPr>
        <p:spPr>
          <a:xfrm>
            <a:off x="1172318" y="3475182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1" name="Segnaposto testo 59"/>
          <p:cNvSpPr>
            <a:spLocks noGrp="1"/>
          </p:cNvSpPr>
          <p:nvPr>
            <p:ph type="body" sz="quarter" idx="30"/>
          </p:nvPr>
        </p:nvSpPr>
        <p:spPr>
          <a:xfrm>
            <a:off x="2794962" y="3475182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2" name="Segnaposto testo 59"/>
          <p:cNvSpPr>
            <a:spLocks noGrp="1"/>
          </p:cNvSpPr>
          <p:nvPr>
            <p:ph type="body" sz="quarter" idx="31"/>
          </p:nvPr>
        </p:nvSpPr>
        <p:spPr>
          <a:xfrm>
            <a:off x="4430806" y="3475182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3" name="Segnaposto testo 59"/>
          <p:cNvSpPr>
            <a:spLocks noGrp="1"/>
          </p:cNvSpPr>
          <p:nvPr>
            <p:ph type="body" sz="quarter" idx="32"/>
          </p:nvPr>
        </p:nvSpPr>
        <p:spPr>
          <a:xfrm>
            <a:off x="6027689" y="3475182"/>
            <a:ext cx="1376362" cy="103909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6" name="Immagine 6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5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67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6128303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D80EE89-5913-7647-8C31-0801FAD3084B}" type="datetime4">
              <a:rPr lang="it-IT" smtClean="0"/>
              <a:t>19 aprile 2020</a:t>
            </a:fld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1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30430101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D80EE89-5913-7647-8C31-0801FAD3084B}" type="datetime4">
              <a:rPr lang="it-IT" smtClean="0"/>
              <a:t>19 aprile 2020</a:t>
            </a:fld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1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10" name="Segnaposto testo 18"/>
          <p:cNvSpPr>
            <a:spLocks noGrp="1"/>
          </p:cNvSpPr>
          <p:nvPr>
            <p:ph type="body" sz="quarter" idx="14" hasCustomPrompt="1"/>
          </p:nvPr>
        </p:nvSpPr>
        <p:spPr>
          <a:xfrm>
            <a:off x="4601684" y="1262063"/>
            <a:ext cx="4132303" cy="3283744"/>
          </a:xfrm>
        </p:spPr>
        <p:txBody>
          <a:bodyPr tIns="46800"/>
          <a:lstStyle>
            <a:lvl1pPr>
              <a:lnSpc>
                <a:spcPct val="100000"/>
              </a:lnSpc>
              <a:spcBef>
                <a:spcPts val="0"/>
              </a:spcBef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bla bla bla bla bla bla bla bla </a:t>
            </a:r>
          </a:p>
        </p:txBody>
      </p:sp>
      <p:sp>
        <p:nvSpPr>
          <p:cNvPr id="11" name="Segnaposto testo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7301" y="1262063"/>
            <a:ext cx="4132303" cy="3283744"/>
          </a:xfrm>
        </p:spPr>
        <p:txBody>
          <a:bodyPr tIns="50400"/>
          <a:lstStyle>
            <a:lvl1pPr>
              <a:lnSpc>
                <a:spcPct val="100000"/>
              </a:lnSpc>
              <a:defRPr sz="3600" b="1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79%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endParaRPr lang="it-IT"/>
          </a:p>
        </p:txBody>
      </p:sp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13250042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am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32915B9D-FBA5-F64C-8672-261CC4E8423A}" type="datetime4">
              <a:rPr lang="it-IT" smtClean="0"/>
              <a:t>19 aprile 2020</a:t>
            </a:fld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14" name="object 3"/>
          <p:cNvSpPr txBox="1"/>
          <p:nvPr userDrawn="1"/>
        </p:nvSpPr>
        <p:spPr>
          <a:xfrm>
            <a:off x="357774" y="537221"/>
            <a:ext cx="1335610" cy="2386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lang="it-IT" sz="2000" spc="0">
                <a:solidFill>
                  <a:schemeClr val="tx2"/>
                </a:solidFill>
                <a:latin typeface="Arial"/>
                <a:cs typeface="Arial"/>
              </a:rPr>
              <a:t>Team</a:t>
            </a:r>
            <a:endParaRPr sz="200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5" name="Segnaposto testo 5"/>
          <p:cNvSpPr>
            <a:spLocks noGrp="1"/>
          </p:cNvSpPr>
          <p:nvPr>
            <p:ph type="body" sz="quarter" idx="14" hasCustomPrompt="1"/>
          </p:nvPr>
        </p:nvSpPr>
        <p:spPr>
          <a:xfrm>
            <a:off x="347300" y="917973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18" name="Segnaposto testo 5"/>
          <p:cNvSpPr>
            <a:spLocks noGrp="1"/>
          </p:cNvSpPr>
          <p:nvPr>
            <p:ph type="body" sz="quarter" idx="16" hasCustomPrompt="1"/>
          </p:nvPr>
        </p:nvSpPr>
        <p:spPr>
          <a:xfrm>
            <a:off x="347300" y="1096928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19" name="Segnaposto testo 5"/>
          <p:cNvSpPr>
            <a:spLocks noGrp="1"/>
          </p:cNvSpPr>
          <p:nvPr>
            <p:ph type="body" sz="quarter" idx="17" hasCustomPrompt="1"/>
          </p:nvPr>
        </p:nvSpPr>
        <p:spPr>
          <a:xfrm>
            <a:off x="347663" y="12585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20" name="Segnaposto testo 5"/>
          <p:cNvSpPr>
            <a:spLocks noGrp="1"/>
          </p:cNvSpPr>
          <p:nvPr>
            <p:ph type="body" sz="quarter" idx="18" hasCustomPrompt="1"/>
          </p:nvPr>
        </p:nvSpPr>
        <p:spPr>
          <a:xfrm>
            <a:off x="347300" y="1420201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21" name="Segnaposto testo 5"/>
          <p:cNvSpPr>
            <a:spLocks noGrp="1"/>
          </p:cNvSpPr>
          <p:nvPr>
            <p:ph type="body" sz="quarter" idx="19" hasCustomPrompt="1"/>
          </p:nvPr>
        </p:nvSpPr>
        <p:spPr>
          <a:xfrm>
            <a:off x="347300" y="1662655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22" name="Segnaposto testo 5"/>
          <p:cNvSpPr>
            <a:spLocks noGrp="1"/>
          </p:cNvSpPr>
          <p:nvPr>
            <p:ph type="body" sz="quarter" idx="20" hasCustomPrompt="1"/>
          </p:nvPr>
        </p:nvSpPr>
        <p:spPr>
          <a:xfrm>
            <a:off x="347300" y="1841609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23" name="Segnaposto testo 5"/>
          <p:cNvSpPr>
            <a:spLocks noGrp="1"/>
          </p:cNvSpPr>
          <p:nvPr>
            <p:ph type="body" sz="quarter" idx="21" hasCustomPrompt="1"/>
          </p:nvPr>
        </p:nvSpPr>
        <p:spPr>
          <a:xfrm>
            <a:off x="347663" y="2003245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24" name="Segnaposto testo 5"/>
          <p:cNvSpPr>
            <a:spLocks noGrp="1"/>
          </p:cNvSpPr>
          <p:nvPr>
            <p:ph type="body" sz="quarter" idx="22" hasCustomPrompt="1"/>
          </p:nvPr>
        </p:nvSpPr>
        <p:spPr>
          <a:xfrm>
            <a:off x="347300" y="2164883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25" name="Segnaposto testo 5"/>
          <p:cNvSpPr>
            <a:spLocks noGrp="1"/>
          </p:cNvSpPr>
          <p:nvPr>
            <p:ph type="body" sz="quarter" idx="23" hasCustomPrompt="1"/>
          </p:nvPr>
        </p:nvSpPr>
        <p:spPr>
          <a:xfrm>
            <a:off x="347300" y="2413109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26" name="Segnaposto testo 5"/>
          <p:cNvSpPr>
            <a:spLocks noGrp="1"/>
          </p:cNvSpPr>
          <p:nvPr>
            <p:ph type="body" sz="quarter" idx="24" hasCustomPrompt="1"/>
          </p:nvPr>
        </p:nvSpPr>
        <p:spPr>
          <a:xfrm>
            <a:off x="347300" y="25920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27" name="Segnaposto testo 5"/>
          <p:cNvSpPr>
            <a:spLocks noGrp="1"/>
          </p:cNvSpPr>
          <p:nvPr>
            <p:ph type="body" sz="quarter" idx="25" hasCustomPrompt="1"/>
          </p:nvPr>
        </p:nvSpPr>
        <p:spPr>
          <a:xfrm>
            <a:off x="347663" y="2753700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28" name="Segnaposto testo 5"/>
          <p:cNvSpPr>
            <a:spLocks noGrp="1"/>
          </p:cNvSpPr>
          <p:nvPr>
            <p:ph type="body" sz="quarter" idx="26" hasCustomPrompt="1"/>
          </p:nvPr>
        </p:nvSpPr>
        <p:spPr>
          <a:xfrm>
            <a:off x="347300" y="2915337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29" name="Segnaposto testo 5"/>
          <p:cNvSpPr>
            <a:spLocks noGrp="1"/>
          </p:cNvSpPr>
          <p:nvPr>
            <p:ph type="body" sz="quarter" idx="27" hasCustomPrompt="1"/>
          </p:nvPr>
        </p:nvSpPr>
        <p:spPr>
          <a:xfrm>
            <a:off x="347300" y="3157791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30" name="Segnaposto testo 5"/>
          <p:cNvSpPr>
            <a:spLocks noGrp="1"/>
          </p:cNvSpPr>
          <p:nvPr>
            <p:ph type="body" sz="quarter" idx="28" hasCustomPrompt="1"/>
          </p:nvPr>
        </p:nvSpPr>
        <p:spPr>
          <a:xfrm>
            <a:off x="347300" y="3336746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31" name="Segnaposto testo 5"/>
          <p:cNvSpPr>
            <a:spLocks noGrp="1"/>
          </p:cNvSpPr>
          <p:nvPr>
            <p:ph type="body" sz="quarter" idx="29" hasCustomPrompt="1"/>
          </p:nvPr>
        </p:nvSpPr>
        <p:spPr>
          <a:xfrm>
            <a:off x="347663" y="3498382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32" name="Segnaposto testo 5"/>
          <p:cNvSpPr>
            <a:spLocks noGrp="1"/>
          </p:cNvSpPr>
          <p:nvPr>
            <p:ph type="body" sz="quarter" idx="30" hasCustomPrompt="1"/>
          </p:nvPr>
        </p:nvSpPr>
        <p:spPr>
          <a:xfrm>
            <a:off x="347300" y="3660019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33" name="Segnaposto testo 5"/>
          <p:cNvSpPr>
            <a:spLocks noGrp="1"/>
          </p:cNvSpPr>
          <p:nvPr>
            <p:ph type="body" sz="quarter" idx="31" hasCustomPrompt="1"/>
          </p:nvPr>
        </p:nvSpPr>
        <p:spPr>
          <a:xfrm>
            <a:off x="347300" y="3902474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34" name="Segnaposto testo 5"/>
          <p:cNvSpPr>
            <a:spLocks noGrp="1"/>
          </p:cNvSpPr>
          <p:nvPr>
            <p:ph type="body" sz="quarter" idx="32" hasCustomPrompt="1"/>
          </p:nvPr>
        </p:nvSpPr>
        <p:spPr>
          <a:xfrm>
            <a:off x="347300" y="4081428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33" hasCustomPrompt="1"/>
          </p:nvPr>
        </p:nvSpPr>
        <p:spPr>
          <a:xfrm>
            <a:off x="347663" y="42430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34" hasCustomPrompt="1"/>
          </p:nvPr>
        </p:nvSpPr>
        <p:spPr>
          <a:xfrm>
            <a:off x="347300" y="4404701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37" name="Segnaposto testo 5"/>
          <p:cNvSpPr>
            <a:spLocks noGrp="1"/>
          </p:cNvSpPr>
          <p:nvPr>
            <p:ph type="body" sz="quarter" idx="35" hasCustomPrompt="1"/>
          </p:nvPr>
        </p:nvSpPr>
        <p:spPr>
          <a:xfrm>
            <a:off x="4615095" y="917973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38" name="Segnaposto testo 5"/>
          <p:cNvSpPr>
            <a:spLocks noGrp="1"/>
          </p:cNvSpPr>
          <p:nvPr>
            <p:ph type="body" sz="quarter" idx="36" hasCustomPrompt="1"/>
          </p:nvPr>
        </p:nvSpPr>
        <p:spPr>
          <a:xfrm>
            <a:off x="4615095" y="1096928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39" name="Segnaposto testo 5"/>
          <p:cNvSpPr>
            <a:spLocks noGrp="1"/>
          </p:cNvSpPr>
          <p:nvPr>
            <p:ph type="body" sz="quarter" idx="37" hasCustomPrompt="1"/>
          </p:nvPr>
        </p:nvSpPr>
        <p:spPr>
          <a:xfrm>
            <a:off x="4615458" y="12585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40" name="Segnaposto testo 5"/>
          <p:cNvSpPr>
            <a:spLocks noGrp="1"/>
          </p:cNvSpPr>
          <p:nvPr>
            <p:ph type="body" sz="quarter" idx="38" hasCustomPrompt="1"/>
          </p:nvPr>
        </p:nvSpPr>
        <p:spPr>
          <a:xfrm>
            <a:off x="4615095" y="1420201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41" name="Segnaposto testo 5"/>
          <p:cNvSpPr>
            <a:spLocks noGrp="1"/>
          </p:cNvSpPr>
          <p:nvPr>
            <p:ph type="body" sz="quarter" idx="39" hasCustomPrompt="1"/>
          </p:nvPr>
        </p:nvSpPr>
        <p:spPr>
          <a:xfrm>
            <a:off x="4615095" y="1662655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42" name="Segnaposto testo 5"/>
          <p:cNvSpPr>
            <a:spLocks noGrp="1"/>
          </p:cNvSpPr>
          <p:nvPr>
            <p:ph type="body" sz="quarter" idx="40" hasCustomPrompt="1"/>
          </p:nvPr>
        </p:nvSpPr>
        <p:spPr>
          <a:xfrm>
            <a:off x="4615095" y="1841609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43" name="Segnaposto testo 5"/>
          <p:cNvSpPr>
            <a:spLocks noGrp="1"/>
          </p:cNvSpPr>
          <p:nvPr>
            <p:ph type="body" sz="quarter" idx="41" hasCustomPrompt="1"/>
          </p:nvPr>
        </p:nvSpPr>
        <p:spPr>
          <a:xfrm>
            <a:off x="4615458" y="2003245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44" name="Segnaposto testo 5"/>
          <p:cNvSpPr>
            <a:spLocks noGrp="1"/>
          </p:cNvSpPr>
          <p:nvPr>
            <p:ph type="body" sz="quarter" idx="42" hasCustomPrompt="1"/>
          </p:nvPr>
        </p:nvSpPr>
        <p:spPr>
          <a:xfrm>
            <a:off x="4615095" y="2164883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45" name="Segnaposto testo 5"/>
          <p:cNvSpPr>
            <a:spLocks noGrp="1"/>
          </p:cNvSpPr>
          <p:nvPr>
            <p:ph type="body" sz="quarter" idx="43" hasCustomPrompt="1"/>
          </p:nvPr>
        </p:nvSpPr>
        <p:spPr>
          <a:xfrm>
            <a:off x="4615095" y="2413109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46" name="Segnaposto testo 5"/>
          <p:cNvSpPr>
            <a:spLocks noGrp="1"/>
          </p:cNvSpPr>
          <p:nvPr>
            <p:ph type="body" sz="quarter" idx="44" hasCustomPrompt="1"/>
          </p:nvPr>
        </p:nvSpPr>
        <p:spPr>
          <a:xfrm>
            <a:off x="4615095" y="25920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47" name="Segnaposto testo 5"/>
          <p:cNvSpPr>
            <a:spLocks noGrp="1"/>
          </p:cNvSpPr>
          <p:nvPr>
            <p:ph type="body" sz="quarter" idx="45" hasCustomPrompt="1"/>
          </p:nvPr>
        </p:nvSpPr>
        <p:spPr>
          <a:xfrm>
            <a:off x="4615458" y="2753700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48" name="Segnaposto testo 5"/>
          <p:cNvSpPr>
            <a:spLocks noGrp="1"/>
          </p:cNvSpPr>
          <p:nvPr>
            <p:ph type="body" sz="quarter" idx="46" hasCustomPrompt="1"/>
          </p:nvPr>
        </p:nvSpPr>
        <p:spPr>
          <a:xfrm>
            <a:off x="4615095" y="2915337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49" name="Segnaposto testo 5"/>
          <p:cNvSpPr>
            <a:spLocks noGrp="1"/>
          </p:cNvSpPr>
          <p:nvPr>
            <p:ph type="body" sz="quarter" idx="47" hasCustomPrompt="1"/>
          </p:nvPr>
        </p:nvSpPr>
        <p:spPr>
          <a:xfrm>
            <a:off x="4615095" y="3157791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50" name="Segnaposto testo 5"/>
          <p:cNvSpPr>
            <a:spLocks noGrp="1"/>
          </p:cNvSpPr>
          <p:nvPr>
            <p:ph type="body" sz="quarter" idx="48" hasCustomPrompt="1"/>
          </p:nvPr>
        </p:nvSpPr>
        <p:spPr>
          <a:xfrm>
            <a:off x="4615095" y="3336746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51" name="Segnaposto testo 5"/>
          <p:cNvSpPr>
            <a:spLocks noGrp="1"/>
          </p:cNvSpPr>
          <p:nvPr>
            <p:ph type="body" sz="quarter" idx="49" hasCustomPrompt="1"/>
          </p:nvPr>
        </p:nvSpPr>
        <p:spPr>
          <a:xfrm>
            <a:off x="4615458" y="3498382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52" name="Segnaposto testo 5"/>
          <p:cNvSpPr>
            <a:spLocks noGrp="1"/>
          </p:cNvSpPr>
          <p:nvPr>
            <p:ph type="body" sz="quarter" idx="50" hasCustomPrompt="1"/>
          </p:nvPr>
        </p:nvSpPr>
        <p:spPr>
          <a:xfrm>
            <a:off x="4615095" y="3660019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53" name="Segnaposto testo 5"/>
          <p:cNvSpPr>
            <a:spLocks noGrp="1"/>
          </p:cNvSpPr>
          <p:nvPr>
            <p:ph type="body" sz="quarter" idx="51" hasCustomPrompt="1"/>
          </p:nvPr>
        </p:nvSpPr>
        <p:spPr>
          <a:xfrm>
            <a:off x="4615095" y="3902474"/>
            <a:ext cx="4124276" cy="121119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54" name="Segnaposto testo 5"/>
          <p:cNvSpPr>
            <a:spLocks noGrp="1"/>
          </p:cNvSpPr>
          <p:nvPr>
            <p:ph type="body" sz="quarter" idx="52" hasCustomPrompt="1"/>
          </p:nvPr>
        </p:nvSpPr>
        <p:spPr>
          <a:xfrm>
            <a:off x="4615095" y="4081428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Job</a:t>
            </a:r>
          </a:p>
        </p:txBody>
      </p:sp>
      <p:sp>
        <p:nvSpPr>
          <p:cNvPr id="55" name="Segnaposto testo 5"/>
          <p:cNvSpPr>
            <a:spLocks noGrp="1"/>
          </p:cNvSpPr>
          <p:nvPr>
            <p:ph type="body" sz="quarter" idx="53" hasCustomPrompt="1"/>
          </p:nvPr>
        </p:nvSpPr>
        <p:spPr>
          <a:xfrm>
            <a:off x="4615458" y="4243064"/>
            <a:ext cx="4124276" cy="121119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56" name="Segnaposto testo 5"/>
          <p:cNvSpPr>
            <a:spLocks noGrp="1"/>
          </p:cNvSpPr>
          <p:nvPr>
            <p:ph type="body" sz="quarter" idx="54" hasCustomPrompt="1"/>
          </p:nvPr>
        </p:nvSpPr>
        <p:spPr>
          <a:xfrm>
            <a:off x="4615095" y="4404701"/>
            <a:ext cx="4124276" cy="121119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endParaRPr lang="it-IT"/>
          </a:p>
        </p:txBody>
      </p:sp>
      <p:pic>
        <p:nvPicPr>
          <p:cNvPr id="58" name="Immagine 5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4521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03953E44-05A8-6F44-8C4B-69703C30898A}" type="datetime4">
              <a:rPr lang="it-IT" smtClean="0"/>
              <a:t>19 aprile 2020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9" name="object 3"/>
          <p:cNvSpPr txBox="1"/>
          <p:nvPr userDrawn="1"/>
        </p:nvSpPr>
        <p:spPr>
          <a:xfrm>
            <a:off x="357774" y="537221"/>
            <a:ext cx="2613256" cy="2386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lang="it-IT" sz="2000" spc="0" err="1">
                <a:solidFill>
                  <a:schemeClr val="tx2"/>
                </a:solidFill>
                <a:latin typeface="Arial"/>
                <a:cs typeface="Arial"/>
              </a:rPr>
              <a:t>Next</a:t>
            </a:r>
            <a:r>
              <a:rPr lang="it-IT" sz="2000" spc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it-IT" sz="2000" spc="0" err="1">
                <a:solidFill>
                  <a:schemeClr val="tx2"/>
                </a:solidFill>
                <a:latin typeface="Arial"/>
                <a:cs typeface="Arial"/>
              </a:rPr>
              <a:t>steps</a:t>
            </a:r>
            <a:endParaRPr sz="200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13" name="Segnaposto testo 54"/>
          <p:cNvSpPr>
            <a:spLocks noGrp="1"/>
          </p:cNvSpPr>
          <p:nvPr>
            <p:ph type="body" sz="quarter" idx="57" hasCustomPrompt="1"/>
          </p:nvPr>
        </p:nvSpPr>
        <p:spPr>
          <a:xfrm>
            <a:off x="4613299" y="91797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114" name="Segnaposto testo 54"/>
          <p:cNvSpPr>
            <a:spLocks noGrp="1"/>
          </p:cNvSpPr>
          <p:nvPr>
            <p:ph type="body" sz="quarter" idx="58" hasCustomPrompt="1"/>
          </p:nvPr>
        </p:nvSpPr>
        <p:spPr>
          <a:xfrm>
            <a:off x="4613301" y="112694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pic>
        <p:nvPicPr>
          <p:cNvPr id="37" name="Immagine 3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36" name="Segnaposto testo 54"/>
          <p:cNvSpPr>
            <a:spLocks noGrp="1"/>
          </p:cNvSpPr>
          <p:nvPr>
            <p:ph type="body" sz="quarter" idx="59" hasCustomPrompt="1"/>
          </p:nvPr>
        </p:nvSpPr>
        <p:spPr>
          <a:xfrm>
            <a:off x="386533" y="91797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38" name="Segnaposto testo 54"/>
          <p:cNvSpPr>
            <a:spLocks noGrp="1"/>
          </p:cNvSpPr>
          <p:nvPr>
            <p:ph type="body" sz="quarter" idx="60" hasCustomPrompt="1"/>
          </p:nvPr>
        </p:nvSpPr>
        <p:spPr>
          <a:xfrm>
            <a:off x="386535" y="112694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39" name="Segnaposto testo 54"/>
          <p:cNvSpPr>
            <a:spLocks noGrp="1"/>
          </p:cNvSpPr>
          <p:nvPr>
            <p:ph type="body" sz="quarter" idx="61" hasCustomPrompt="1"/>
          </p:nvPr>
        </p:nvSpPr>
        <p:spPr>
          <a:xfrm>
            <a:off x="4613299" y="168770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40" name="Segnaposto testo 54"/>
          <p:cNvSpPr>
            <a:spLocks noGrp="1"/>
          </p:cNvSpPr>
          <p:nvPr>
            <p:ph type="body" sz="quarter" idx="62" hasCustomPrompt="1"/>
          </p:nvPr>
        </p:nvSpPr>
        <p:spPr>
          <a:xfrm>
            <a:off x="4613301" y="189667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41" name="Segnaposto testo 54"/>
          <p:cNvSpPr>
            <a:spLocks noGrp="1"/>
          </p:cNvSpPr>
          <p:nvPr>
            <p:ph type="body" sz="quarter" idx="63" hasCustomPrompt="1"/>
          </p:nvPr>
        </p:nvSpPr>
        <p:spPr>
          <a:xfrm>
            <a:off x="386533" y="168770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42" name="Segnaposto testo 54"/>
          <p:cNvSpPr>
            <a:spLocks noGrp="1"/>
          </p:cNvSpPr>
          <p:nvPr>
            <p:ph type="body" sz="quarter" idx="64" hasCustomPrompt="1"/>
          </p:nvPr>
        </p:nvSpPr>
        <p:spPr>
          <a:xfrm>
            <a:off x="386535" y="189667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43" name="Segnaposto testo 54"/>
          <p:cNvSpPr>
            <a:spLocks noGrp="1"/>
          </p:cNvSpPr>
          <p:nvPr>
            <p:ph type="body" sz="quarter" idx="65" hasCustomPrompt="1"/>
          </p:nvPr>
        </p:nvSpPr>
        <p:spPr>
          <a:xfrm>
            <a:off x="4613299" y="2452788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44" name="Segnaposto testo 54"/>
          <p:cNvSpPr>
            <a:spLocks noGrp="1"/>
          </p:cNvSpPr>
          <p:nvPr>
            <p:ph type="body" sz="quarter" idx="66" hasCustomPrompt="1"/>
          </p:nvPr>
        </p:nvSpPr>
        <p:spPr>
          <a:xfrm>
            <a:off x="4613301" y="2661760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45" name="Segnaposto testo 54"/>
          <p:cNvSpPr>
            <a:spLocks noGrp="1"/>
          </p:cNvSpPr>
          <p:nvPr>
            <p:ph type="body" sz="quarter" idx="67" hasCustomPrompt="1"/>
          </p:nvPr>
        </p:nvSpPr>
        <p:spPr>
          <a:xfrm>
            <a:off x="386533" y="2452788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46" name="Segnaposto testo 54"/>
          <p:cNvSpPr>
            <a:spLocks noGrp="1"/>
          </p:cNvSpPr>
          <p:nvPr>
            <p:ph type="body" sz="quarter" idx="68" hasCustomPrompt="1"/>
          </p:nvPr>
        </p:nvSpPr>
        <p:spPr>
          <a:xfrm>
            <a:off x="386535" y="2661760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47" name="Segnaposto testo 54"/>
          <p:cNvSpPr>
            <a:spLocks noGrp="1"/>
          </p:cNvSpPr>
          <p:nvPr>
            <p:ph type="body" sz="quarter" idx="69" hasCustomPrompt="1"/>
          </p:nvPr>
        </p:nvSpPr>
        <p:spPr>
          <a:xfrm>
            <a:off x="4613299" y="321787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48" name="Segnaposto testo 54"/>
          <p:cNvSpPr>
            <a:spLocks noGrp="1"/>
          </p:cNvSpPr>
          <p:nvPr>
            <p:ph type="body" sz="quarter" idx="70" hasCustomPrompt="1"/>
          </p:nvPr>
        </p:nvSpPr>
        <p:spPr>
          <a:xfrm>
            <a:off x="4613301" y="342684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  <p:sp>
        <p:nvSpPr>
          <p:cNvPr id="49" name="Segnaposto testo 54"/>
          <p:cNvSpPr>
            <a:spLocks noGrp="1"/>
          </p:cNvSpPr>
          <p:nvPr>
            <p:ph type="body" sz="quarter" idx="71" hasCustomPrompt="1"/>
          </p:nvPr>
        </p:nvSpPr>
        <p:spPr>
          <a:xfrm>
            <a:off x="386533" y="3217873"/>
            <a:ext cx="4117610" cy="1803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Data </a:t>
            </a:r>
            <a:r>
              <a:rPr lang="it-IT" err="1"/>
              <a:t>Arial</a:t>
            </a:r>
            <a:r>
              <a:rPr lang="it-IT"/>
              <a:t> Regular 10pt</a:t>
            </a:r>
          </a:p>
        </p:txBody>
      </p:sp>
      <p:sp>
        <p:nvSpPr>
          <p:cNvPr id="50" name="Segnaposto testo 54"/>
          <p:cNvSpPr>
            <a:spLocks noGrp="1"/>
          </p:cNvSpPr>
          <p:nvPr>
            <p:ph type="body" sz="quarter" idx="72" hasCustomPrompt="1"/>
          </p:nvPr>
        </p:nvSpPr>
        <p:spPr>
          <a:xfrm>
            <a:off x="386535" y="3426845"/>
            <a:ext cx="4117607" cy="482779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it-IT"/>
              <a:t>Nome Evento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15/17pt </a:t>
            </a:r>
          </a:p>
        </p:txBody>
      </p:sp>
    </p:spTree>
    <p:extLst>
      <p:ext uri="{BB962C8B-B14F-4D97-AF65-F5344CB8AC3E}">
        <p14:creationId xmlns:p14="http://schemas.microsoft.com/office/powerpoint/2010/main" val="12205915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hart + Numeric Highlight: 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8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43571725-E33A-3149-9CA8-7E11E715B1CC}" type="datetime4">
              <a:rPr lang="it-IT" smtClean="0"/>
              <a:t>19 aprile 2020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17" name="Segnaposto grafico 20"/>
          <p:cNvSpPr>
            <a:spLocks noGrp="1"/>
          </p:cNvSpPr>
          <p:nvPr>
            <p:ph type="chart" sz="quarter" idx="17"/>
          </p:nvPr>
        </p:nvSpPr>
        <p:spPr>
          <a:xfrm>
            <a:off x="347301" y="1262063"/>
            <a:ext cx="4125913" cy="3283744"/>
          </a:xfrm>
        </p:spPr>
        <p:txBody>
          <a:bodyPr/>
          <a:lstStyle/>
          <a:p>
            <a:r>
              <a:rPr lang="en-US"/>
              <a:t>Click icon to add chart</a:t>
            </a:r>
            <a:endParaRPr lang="it-IT"/>
          </a:p>
        </p:txBody>
      </p:sp>
      <p:sp>
        <p:nvSpPr>
          <p:cNvPr id="20" name="Segnaposto testo 2"/>
          <p:cNvSpPr>
            <a:spLocks noGrp="1"/>
          </p:cNvSpPr>
          <p:nvPr>
            <p:ph type="body" sz="quarter" idx="15" hasCustomPrompt="1"/>
          </p:nvPr>
        </p:nvSpPr>
        <p:spPr>
          <a:xfrm>
            <a:off x="4546121" y="1262063"/>
            <a:ext cx="4193251" cy="1144191"/>
          </a:xfrm>
        </p:spPr>
        <p:txBody>
          <a:bodyPr numCol="1" spcCol="144000"/>
          <a:lstStyle>
            <a:lvl1pPr>
              <a:lnSpc>
                <a:spcPct val="100000"/>
              </a:lnSpc>
              <a:spcAft>
                <a:spcPts val="1800"/>
              </a:spcAft>
              <a:defRPr sz="7200" b="1" i="0" baseline="0">
                <a:solidFill>
                  <a:srgbClr val="BD0D22"/>
                </a:solidFill>
              </a:defRPr>
            </a:lvl1pPr>
            <a:lvl2pPr marL="0" indent="0">
              <a:buFontTx/>
              <a:buNone/>
              <a:defRPr baseline="0"/>
            </a:lvl2pPr>
          </a:lstStyle>
          <a:p>
            <a:pPr lvl="0"/>
            <a:r>
              <a:rPr lang="it-IT"/>
              <a:t>000,1%</a:t>
            </a:r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18" hasCustomPrompt="1"/>
          </p:nvPr>
        </p:nvSpPr>
        <p:spPr>
          <a:xfrm>
            <a:off x="4546121" y="2458010"/>
            <a:ext cx="4193251" cy="2087797"/>
          </a:xfrm>
        </p:spPr>
        <p:txBody>
          <a:bodyPr/>
          <a:lstStyle>
            <a:lvl1pPr>
              <a:defRPr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it-IT"/>
              <a:t>Testo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5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8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36306586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4844988"/>
            <a:ext cx="799200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E9BCA795-6DB1-0248-99D5-883AF2D12726}" type="datetime4">
              <a:rPr lang="it-IT" smtClean="0"/>
              <a:t>19 aprile 2020</a:t>
            </a:fld>
            <a:endParaRPr lang="it-IT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/>
          <a:srcRect r="21050"/>
          <a:stretch/>
        </p:blipFill>
        <p:spPr>
          <a:xfrm>
            <a:off x="1" y="0"/>
            <a:ext cx="200533" cy="5143500"/>
          </a:xfrm>
          <a:prstGeom prst="rect">
            <a:avLst/>
          </a:prstGeom>
        </p:spPr>
      </p:pic>
      <p:sp>
        <p:nvSpPr>
          <p:cNvPr id="11" name="CasellaDiTesto 10"/>
          <p:cNvSpPr txBox="1"/>
          <p:nvPr userDrawn="1"/>
        </p:nvSpPr>
        <p:spPr>
          <a:xfrm>
            <a:off x="347301" y="2273301"/>
            <a:ext cx="8399832" cy="3808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3300" b="1" baseline="0" err="1">
                <a:solidFill>
                  <a:schemeClr val="tx2"/>
                </a:solidFill>
              </a:rPr>
              <a:t>Thank</a:t>
            </a:r>
            <a:r>
              <a:rPr lang="it-IT" sz="3300" b="1" baseline="0">
                <a:solidFill>
                  <a:schemeClr val="tx2"/>
                </a:solidFill>
              </a:rPr>
              <a:t> </a:t>
            </a:r>
            <a:r>
              <a:rPr lang="it-IT" sz="3300" b="1" baseline="0" err="1">
                <a:solidFill>
                  <a:schemeClr val="tx2"/>
                </a:solidFill>
              </a:rPr>
              <a:t>You</a:t>
            </a:r>
            <a:r>
              <a:rPr lang="it-IT" sz="3300" b="1" baseline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2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347301" y="4013597"/>
            <a:ext cx="4580467" cy="12660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E-mail</a:t>
            </a:r>
          </a:p>
        </p:txBody>
      </p:sp>
      <p:sp>
        <p:nvSpPr>
          <p:cNvPr id="17" name="CasellaDiTesto 16"/>
          <p:cNvSpPr txBox="1"/>
          <p:nvPr userDrawn="1"/>
        </p:nvSpPr>
        <p:spPr>
          <a:xfrm>
            <a:off x="347302" y="3483842"/>
            <a:ext cx="4580465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it-IT" sz="1000" b="1" baseline="0" err="1">
                <a:solidFill>
                  <a:schemeClr val="tx2"/>
                </a:solidFill>
              </a:rPr>
              <a:t>Contacts</a:t>
            </a:r>
            <a:r>
              <a:rPr lang="it-IT" sz="1000" b="1" baseline="0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20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347301" y="4204097"/>
            <a:ext cx="4580467" cy="12660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Phone </a:t>
            </a:r>
            <a:r>
              <a:rPr lang="it-IT" err="1"/>
              <a:t>Number</a:t>
            </a:r>
            <a:r>
              <a:rPr lang="it-IT"/>
              <a:t> +39 / Fax </a:t>
            </a:r>
            <a:r>
              <a:rPr lang="it-IT" err="1"/>
              <a:t>Number</a:t>
            </a:r>
            <a:r>
              <a:rPr lang="it-IT"/>
              <a:t> +39 </a:t>
            </a: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1" y="4394597"/>
            <a:ext cx="4580467" cy="12660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Website</a:t>
            </a:r>
          </a:p>
        </p:txBody>
      </p:sp>
      <p:sp>
        <p:nvSpPr>
          <p:cNvPr id="22" name="Segnaposto testo 3"/>
          <p:cNvSpPr>
            <a:spLocks noGrp="1"/>
          </p:cNvSpPr>
          <p:nvPr>
            <p:ph type="body" sz="quarter" idx="14" hasCustomPrompt="1"/>
          </p:nvPr>
        </p:nvSpPr>
        <p:spPr>
          <a:xfrm>
            <a:off x="347301" y="3823097"/>
            <a:ext cx="4580467" cy="12660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23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347301" y="3628558"/>
            <a:ext cx="4580467" cy="159051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err="1"/>
              <a:t>Department</a:t>
            </a:r>
            <a:endParaRPr lang="it-IT"/>
          </a:p>
        </p:txBody>
      </p:sp>
      <p:pic>
        <p:nvPicPr>
          <p:cNvPr id="19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7300" y="287166"/>
            <a:ext cx="864000" cy="703434"/>
          </a:xfrm>
          <a:prstGeom prst="rect">
            <a:avLst/>
          </a:prstGeom>
        </p:spPr>
      </p:pic>
      <p:pic>
        <p:nvPicPr>
          <p:cNvPr id="24" name="Picture 2" descr="C:\Users\Shirani\Desktop\Social_logo_red_background\Social_logo_red_background\YouTube-red.emf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125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" descr="C:\Users\Shirani\Desktop\Social_logo_red_background\Social_logo_red_background\Facebook-red.emf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012" y="4149199"/>
            <a:ext cx="346360" cy="345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C:\Users\Shirani\Desktop\Social_logo_red_background\Social_logo_red_background\Flickr-red.emf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3621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" descr="C:\Users\Shirani\Desktop\Social_logo_red_background\Social_logo_red_background\Google+_red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0629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 descr="C:\Users\Shirani\Desktop\Social_logo_red_background\Social_logo_red_background\LinkedIn-red.e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515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7" descr="C:\Users\Shirani\Desktop\Social_logo_red_background\Social_logo_red_background\SlideShare-red.emf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0119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8" descr="C:\Users\Shirani\Desktop\Social_logo_red_background\Social_logo_red_background\Twitter-red.emf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4133" y="4148826"/>
            <a:ext cx="346735" cy="346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43144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ack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D80EE89-5913-7647-8C31-0801FAD3084B}" type="datetime4">
              <a:rPr lang="it-IT" smtClean="0"/>
              <a:t>19 aprile 2020</a:t>
            </a:fld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10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547953"/>
            <a:ext cx="8386686" cy="306061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/>
              <a:t>Back-Up</a:t>
            </a:r>
          </a:p>
        </p:txBody>
      </p:sp>
      <p:sp>
        <p:nvSpPr>
          <p:cNvPr id="11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2596080"/>
            <a:ext cx="8386686" cy="6233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Back-Up </a:t>
            </a:r>
            <a:r>
              <a:rPr lang="it-IT" err="1"/>
              <a:t>Subtitle</a:t>
            </a:r>
            <a:r>
              <a:rPr lang="it-IT"/>
              <a:t>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Regular 20/24pt</a:t>
            </a:r>
          </a:p>
        </p:txBody>
      </p:sp>
      <p:sp>
        <p:nvSpPr>
          <p:cNvPr id="12" name="Segnaposto testo 2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1597819"/>
            <a:ext cx="8386686" cy="926306"/>
          </a:xfrm>
        </p:spPr>
        <p:txBody>
          <a:bodyPr/>
          <a:lstStyle>
            <a:lvl1pPr>
              <a:lnSpc>
                <a:spcPts val="3500"/>
              </a:lnSpc>
              <a:defRPr sz="3300" b="1" i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Back-Up Title 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33/35pt</a:t>
            </a:r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5899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1597819"/>
            <a:ext cx="8386686" cy="973931"/>
          </a:xfrm>
        </p:spPr>
        <p:txBody>
          <a:bodyPr/>
          <a:lstStyle>
            <a:lvl1pPr>
              <a:lnSpc>
                <a:spcPts val="3500"/>
              </a:lnSpc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Presentation Title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33/35pt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2647949"/>
            <a:ext cx="8386686" cy="657225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Presentation </a:t>
            </a:r>
            <a:r>
              <a:rPr lang="it-IT" err="1"/>
              <a:t>Subtitle</a:t>
            </a:r>
            <a:br>
              <a:rPr lang="it-IT"/>
            </a:br>
            <a:r>
              <a:rPr lang="it-IT" err="1"/>
              <a:t>Arial</a:t>
            </a:r>
            <a:r>
              <a:rPr lang="it-IT"/>
              <a:t> Regular 20/24pt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0" y="4844989"/>
            <a:ext cx="799200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13 April 2020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/>
          <a:srcRect r="21050"/>
          <a:stretch/>
        </p:blipFill>
        <p:spPr>
          <a:xfrm>
            <a:off x="2" y="0"/>
            <a:ext cx="200533" cy="5143500"/>
          </a:xfrm>
          <a:prstGeom prst="rect">
            <a:avLst/>
          </a:prstGeom>
        </p:spPr>
      </p:pic>
      <p:pic>
        <p:nvPicPr>
          <p:cNvPr id="11" name="Immagin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300" y="287166"/>
            <a:ext cx="864000" cy="70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150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Slide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  <p:sp>
        <p:nvSpPr>
          <p:cNvPr id="1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6" name="Segnaposto contenuto 2"/>
          <p:cNvSpPr>
            <a:spLocks noGrp="1"/>
          </p:cNvSpPr>
          <p:nvPr>
            <p:ph sz="quarter" idx="15"/>
          </p:nvPr>
        </p:nvSpPr>
        <p:spPr>
          <a:xfrm>
            <a:off x="347664" y="1301819"/>
            <a:ext cx="8391525" cy="3243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5519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B53F7A2A-49AC-485F-A90F-8C8ED890E8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85750" y="307661"/>
            <a:ext cx="3272400" cy="508296"/>
            <a:chOff x="228600" y="1790701"/>
            <a:chExt cx="4037012" cy="627062"/>
          </a:xfrm>
        </p:grpSpPr>
        <p:sp>
          <p:nvSpPr>
            <p:cNvPr id="7" name="Freeform 93">
              <a:extLst>
                <a:ext uri="{FF2B5EF4-FFF2-40B4-BE49-F238E27FC236}">
                  <a16:creationId xmlns:a16="http://schemas.microsoft.com/office/drawing/2014/main" id="{C454D671-6955-4E92-B712-4E2160047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8275" y="1790701"/>
              <a:ext cx="204787" cy="217488"/>
            </a:xfrm>
            <a:custGeom>
              <a:avLst/>
              <a:gdLst>
                <a:gd name="T0" fmla="*/ 0 w 568"/>
                <a:gd name="T1" fmla="*/ 424 h 601"/>
                <a:gd name="T2" fmla="*/ 332 w 568"/>
                <a:gd name="T3" fmla="*/ 301 h 601"/>
                <a:gd name="T4" fmla="*/ 0 w 568"/>
                <a:gd name="T5" fmla="*/ 172 h 601"/>
                <a:gd name="T6" fmla="*/ 0 w 568"/>
                <a:gd name="T7" fmla="*/ 0 h 601"/>
                <a:gd name="T8" fmla="*/ 568 w 568"/>
                <a:gd name="T9" fmla="*/ 229 h 601"/>
                <a:gd name="T10" fmla="*/ 568 w 568"/>
                <a:gd name="T11" fmla="*/ 371 h 601"/>
                <a:gd name="T12" fmla="*/ 0 w 568"/>
                <a:gd name="T13" fmla="*/ 601 h 601"/>
                <a:gd name="T14" fmla="*/ 0 w 568"/>
                <a:gd name="T15" fmla="*/ 424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8" h="601">
                  <a:moveTo>
                    <a:pt x="0" y="424"/>
                  </a:moveTo>
                  <a:lnTo>
                    <a:pt x="332" y="301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568" y="229"/>
                  </a:lnTo>
                  <a:lnTo>
                    <a:pt x="568" y="371"/>
                  </a:lnTo>
                  <a:lnTo>
                    <a:pt x="0" y="601"/>
                  </a:lnTo>
                  <a:lnTo>
                    <a:pt x="0" y="4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350"/>
            </a:p>
          </p:txBody>
        </p:sp>
        <p:sp>
          <p:nvSpPr>
            <p:cNvPr id="8" name="Freeform 94">
              <a:extLst>
                <a:ext uri="{FF2B5EF4-FFF2-40B4-BE49-F238E27FC236}">
                  <a16:creationId xmlns:a16="http://schemas.microsoft.com/office/drawing/2014/main" id="{22F5183E-0DBD-46E2-8212-02BE9654F7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8600" y="2022476"/>
              <a:ext cx="2074862" cy="317500"/>
            </a:xfrm>
            <a:custGeom>
              <a:avLst/>
              <a:gdLst>
                <a:gd name="T0" fmla="*/ 0 w 5757"/>
                <a:gd name="T1" fmla="*/ 675 h 879"/>
                <a:gd name="T2" fmla="*/ 396 w 5757"/>
                <a:gd name="T3" fmla="*/ 427 h 879"/>
                <a:gd name="T4" fmla="*/ 20 w 5757"/>
                <a:gd name="T5" fmla="*/ 406 h 879"/>
                <a:gd name="T6" fmla="*/ 582 w 5757"/>
                <a:gd name="T7" fmla="*/ 865 h 879"/>
                <a:gd name="T8" fmla="*/ 219 w 5757"/>
                <a:gd name="T9" fmla="*/ 879 h 879"/>
                <a:gd name="T10" fmla="*/ 323 w 5757"/>
                <a:gd name="T11" fmla="*/ 580 h 879"/>
                <a:gd name="T12" fmla="*/ 274 w 5757"/>
                <a:gd name="T13" fmla="*/ 749 h 879"/>
                <a:gd name="T14" fmla="*/ 685 w 5757"/>
                <a:gd name="T15" fmla="*/ 540 h 879"/>
                <a:gd name="T16" fmla="*/ 1294 w 5757"/>
                <a:gd name="T17" fmla="*/ 437 h 879"/>
                <a:gd name="T18" fmla="*/ 874 w 5757"/>
                <a:gd name="T19" fmla="*/ 523 h 879"/>
                <a:gd name="T20" fmla="*/ 1129 w 5757"/>
                <a:gd name="T21" fmla="*/ 620 h 879"/>
                <a:gd name="T22" fmla="*/ 1693 w 5757"/>
                <a:gd name="T23" fmla="*/ 879 h 879"/>
                <a:gd name="T24" fmla="*/ 1694 w 5757"/>
                <a:gd name="T25" fmla="*/ 187 h 879"/>
                <a:gd name="T26" fmla="*/ 1698 w 5757"/>
                <a:gd name="T27" fmla="*/ 330 h 879"/>
                <a:gd name="T28" fmla="*/ 1699 w 5757"/>
                <a:gd name="T29" fmla="*/ 739 h 879"/>
                <a:gd name="T30" fmla="*/ 1693 w 5757"/>
                <a:gd name="T31" fmla="*/ 879 h 879"/>
                <a:gd name="T32" fmla="*/ 2066 w 5757"/>
                <a:gd name="T33" fmla="*/ 531 h 879"/>
                <a:gd name="T34" fmla="*/ 2686 w 5757"/>
                <a:gd name="T35" fmla="*/ 579 h 879"/>
                <a:gd name="T36" fmla="*/ 2515 w 5757"/>
                <a:gd name="T37" fmla="*/ 658 h 879"/>
                <a:gd name="T38" fmla="*/ 2257 w 5757"/>
                <a:gd name="T39" fmla="*/ 456 h 879"/>
                <a:gd name="T40" fmla="*/ 2257 w 5757"/>
                <a:gd name="T41" fmla="*/ 456 h 879"/>
                <a:gd name="T42" fmla="*/ 2986 w 5757"/>
                <a:gd name="T43" fmla="*/ 300 h 879"/>
                <a:gd name="T44" fmla="*/ 3387 w 5757"/>
                <a:gd name="T45" fmla="*/ 865 h 879"/>
                <a:gd name="T46" fmla="*/ 3103 w 5757"/>
                <a:gd name="T47" fmla="*/ 336 h 879"/>
                <a:gd name="T48" fmla="*/ 2800 w 5757"/>
                <a:gd name="T49" fmla="*/ 865 h 879"/>
                <a:gd name="T50" fmla="*/ 3734 w 5757"/>
                <a:gd name="T51" fmla="*/ 200 h 879"/>
                <a:gd name="T52" fmla="*/ 3734 w 5757"/>
                <a:gd name="T53" fmla="*/ 339 h 879"/>
                <a:gd name="T54" fmla="*/ 3865 w 5757"/>
                <a:gd name="T55" fmla="*/ 715 h 879"/>
                <a:gd name="T56" fmla="*/ 3547 w 5757"/>
                <a:gd name="T57" fmla="*/ 673 h 879"/>
                <a:gd name="T58" fmla="*/ 3470 w 5757"/>
                <a:gd name="T59" fmla="*/ 200 h 879"/>
                <a:gd name="T60" fmla="*/ 3734 w 5757"/>
                <a:gd name="T61" fmla="*/ 0 h 879"/>
                <a:gd name="T62" fmla="*/ 4374 w 5757"/>
                <a:gd name="T63" fmla="*/ 767 h 879"/>
                <a:gd name="T64" fmla="*/ 3974 w 5757"/>
                <a:gd name="T65" fmla="*/ 200 h 879"/>
                <a:gd name="T66" fmla="*/ 4257 w 5757"/>
                <a:gd name="T67" fmla="*/ 734 h 879"/>
                <a:gd name="T68" fmla="*/ 4559 w 5757"/>
                <a:gd name="T69" fmla="*/ 200 h 879"/>
                <a:gd name="T70" fmla="*/ 4879 w 5757"/>
                <a:gd name="T71" fmla="*/ 200 h 879"/>
                <a:gd name="T72" fmla="*/ 5079 w 5757"/>
                <a:gd name="T73" fmla="*/ 374 h 879"/>
                <a:gd name="T74" fmla="*/ 4694 w 5757"/>
                <a:gd name="T75" fmla="*/ 865 h 879"/>
                <a:gd name="T76" fmla="*/ 5137 w 5757"/>
                <a:gd name="T77" fmla="*/ 543 h 879"/>
                <a:gd name="T78" fmla="*/ 5757 w 5757"/>
                <a:gd name="T79" fmla="*/ 499 h 879"/>
                <a:gd name="T80" fmla="*/ 5464 w 5757"/>
                <a:gd name="T81" fmla="*/ 744 h 879"/>
                <a:gd name="T82" fmla="*/ 5460 w 5757"/>
                <a:gd name="T83" fmla="*/ 879 h 879"/>
                <a:gd name="T84" fmla="*/ 5455 w 5757"/>
                <a:gd name="T85" fmla="*/ 316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57" h="879">
                  <a:moveTo>
                    <a:pt x="219" y="879"/>
                  </a:moveTo>
                  <a:cubicBezTo>
                    <a:pt x="99" y="879"/>
                    <a:pt x="0" y="818"/>
                    <a:pt x="0" y="683"/>
                  </a:cubicBezTo>
                  <a:lnTo>
                    <a:pt x="0" y="675"/>
                  </a:lnTo>
                  <a:cubicBezTo>
                    <a:pt x="0" y="512"/>
                    <a:pt x="142" y="458"/>
                    <a:pt x="314" y="458"/>
                  </a:cubicBezTo>
                  <a:lnTo>
                    <a:pt x="396" y="458"/>
                  </a:lnTo>
                  <a:lnTo>
                    <a:pt x="396" y="427"/>
                  </a:lnTo>
                  <a:cubicBezTo>
                    <a:pt x="396" y="360"/>
                    <a:pt x="367" y="320"/>
                    <a:pt x="299" y="320"/>
                  </a:cubicBezTo>
                  <a:cubicBezTo>
                    <a:pt x="236" y="320"/>
                    <a:pt x="203" y="355"/>
                    <a:pt x="198" y="406"/>
                  </a:cubicBezTo>
                  <a:lnTo>
                    <a:pt x="20" y="406"/>
                  </a:lnTo>
                  <a:cubicBezTo>
                    <a:pt x="33" y="259"/>
                    <a:pt x="150" y="187"/>
                    <a:pt x="307" y="187"/>
                  </a:cubicBezTo>
                  <a:cubicBezTo>
                    <a:pt x="467" y="187"/>
                    <a:pt x="582" y="255"/>
                    <a:pt x="582" y="420"/>
                  </a:cubicBezTo>
                  <a:lnTo>
                    <a:pt x="582" y="865"/>
                  </a:lnTo>
                  <a:lnTo>
                    <a:pt x="400" y="865"/>
                  </a:lnTo>
                  <a:lnTo>
                    <a:pt x="400" y="788"/>
                  </a:lnTo>
                  <a:cubicBezTo>
                    <a:pt x="368" y="837"/>
                    <a:pt x="307" y="879"/>
                    <a:pt x="219" y="879"/>
                  </a:cubicBezTo>
                  <a:close/>
                  <a:moveTo>
                    <a:pt x="396" y="644"/>
                  </a:moveTo>
                  <a:lnTo>
                    <a:pt x="396" y="580"/>
                  </a:lnTo>
                  <a:lnTo>
                    <a:pt x="323" y="580"/>
                  </a:lnTo>
                  <a:cubicBezTo>
                    <a:pt x="231" y="580"/>
                    <a:pt x="184" y="606"/>
                    <a:pt x="184" y="665"/>
                  </a:cubicBezTo>
                  <a:lnTo>
                    <a:pt x="184" y="672"/>
                  </a:lnTo>
                  <a:cubicBezTo>
                    <a:pt x="184" y="717"/>
                    <a:pt x="212" y="749"/>
                    <a:pt x="274" y="749"/>
                  </a:cubicBezTo>
                  <a:cubicBezTo>
                    <a:pt x="338" y="749"/>
                    <a:pt x="396" y="713"/>
                    <a:pt x="396" y="644"/>
                  </a:cubicBezTo>
                  <a:close/>
                  <a:moveTo>
                    <a:pt x="1002" y="879"/>
                  </a:moveTo>
                  <a:cubicBezTo>
                    <a:pt x="818" y="879"/>
                    <a:pt x="685" y="764"/>
                    <a:pt x="685" y="540"/>
                  </a:cubicBezTo>
                  <a:lnTo>
                    <a:pt x="685" y="531"/>
                  </a:lnTo>
                  <a:cubicBezTo>
                    <a:pt x="685" y="306"/>
                    <a:pt x="827" y="187"/>
                    <a:pt x="1003" y="187"/>
                  </a:cubicBezTo>
                  <a:cubicBezTo>
                    <a:pt x="1154" y="187"/>
                    <a:pt x="1279" y="263"/>
                    <a:pt x="1294" y="437"/>
                  </a:cubicBezTo>
                  <a:lnTo>
                    <a:pt x="1116" y="437"/>
                  </a:lnTo>
                  <a:cubicBezTo>
                    <a:pt x="1105" y="372"/>
                    <a:pt x="1072" y="330"/>
                    <a:pt x="1007" y="330"/>
                  </a:cubicBezTo>
                  <a:cubicBezTo>
                    <a:pt x="928" y="330"/>
                    <a:pt x="874" y="392"/>
                    <a:pt x="874" y="523"/>
                  </a:cubicBezTo>
                  <a:lnTo>
                    <a:pt x="874" y="543"/>
                  </a:lnTo>
                  <a:cubicBezTo>
                    <a:pt x="874" y="678"/>
                    <a:pt x="922" y="739"/>
                    <a:pt x="1008" y="739"/>
                  </a:cubicBezTo>
                  <a:cubicBezTo>
                    <a:pt x="1072" y="739"/>
                    <a:pt x="1119" y="692"/>
                    <a:pt x="1129" y="620"/>
                  </a:cubicBezTo>
                  <a:lnTo>
                    <a:pt x="1298" y="620"/>
                  </a:lnTo>
                  <a:cubicBezTo>
                    <a:pt x="1285" y="771"/>
                    <a:pt x="1182" y="879"/>
                    <a:pt x="1002" y="879"/>
                  </a:cubicBezTo>
                  <a:close/>
                  <a:moveTo>
                    <a:pt x="1693" y="879"/>
                  </a:moveTo>
                  <a:cubicBezTo>
                    <a:pt x="1509" y="879"/>
                    <a:pt x="1376" y="764"/>
                    <a:pt x="1376" y="540"/>
                  </a:cubicBezTo>
                  <a:lnTo>
                    <a:pt x="1376" y="531"/>
                  </a:lnTo>
                  <a:cubicBezTo>
                    <a:pt x="1376" y="306"/>
                    <a:pt x="1518" y="187"/>
                    <a:pt x="1694" y="187"/>
                  </a:cubicBezTo>
                  <a:cubicBezTo>
                    <a:pt x="1845" y="187"/>
                    <a:pt x="1970" y="263"/>
                    <a:pt x="1985" y="437"/>
                  </a:cubicBezTo>
                  <a:lnTo>
                    <a:pt x="1807" y="437"/>
                  </a:lnTo>
                  <a:cubicBezTo>
                    <a:pt x="1796" y="372"/>
                    <a:pt x="1763" y="330"/>
                    <a:pt x="1698" y="330"/>
                  </a:cubicBezTo>
                  <a:cubicBezTo>
                    <a:pt x="1619" y="330"/>
                    <a:pt x="1565" y="392"/>
                    <a:pt x="1565" y="523"/>
                  </a:cubicBezTo>
                  <a:lnTo>
                    <a:pt x="1565" y="543"/>
                  </a:lnTo>
                  <a:cubicBezTo>
                    <a:pt x="1565" y="678"/>
                    <a:pt x="1613" y="739"/>
                    <a:pt x="1699" y="739"/>
                  </a:cubicBezTo>
                  <a:cubicBezTo>
                    <a:pt x="1763" y="739"/>
                    <a:pt x="1810" y="692"/>
                    <a:pt x="1820" y="620"/>
                  </a:cubicBezTo>
                  <a:lnTo>
                    <a:pt x="1989" y="620"/>
                  </a:lnTo>
                  <a:cubicBezTo>
                    <a:pt x="1976" y="771"/>
                    <a:pt x="1873" y="879"/>
                    <a:pt x="1693" y="879"/>
                  </a:cubicBezTo>
                  <a:close/>
                  <a:moveTo>
                    <a:pt x="2389" y="879"/>
                  </a:moveTo>
                  <a:cubicBezTo>
                    <a:pt x="2197" y="879"/>
                    <a:pt x="2066" y="764"/>
                    <a:pt x="2066" y="543"/>
                  </a:cubicBezTo>
                  <a:lnTo>
                    <a:pt x="2066" y="531"/>
                  </a:lnTo>
                  <a:cubicBezTo>
                    <a:pt x="2066" y="308"/>
                    <a:pt x="2205" y="187"/>
                    <a:pt x="2383" y="187"/>
                  </a:cubicBezTo>
                  <a:cubicBezTo>
                    <a:pt x="2548" y="187"/>
                    <a:pt x="2686" y="279"/>
                    <a:pt x="2686" y="499"/>
                  </a:cubicBezTo>
                  <a:lnTo>
                    <a:pt x="2686" y="579"/>
                  </a:lnTo>
                  <a:lnTo>
                    <a:pt x="2254" y="579"/>
                  </a:lnTo>
                  <a:cubicBezTo>
                    <a:pt x="2262" y="698"/>
                    <a:pt x="2313" y="744"/>
                    <a:pt x="2393" y="744"/>
                  </a:cubicBezTo>
                  <a:cubicBezTo>
                    <a:pt x="2464" y="744"/>
                    <a:pt x="2502" y="706"/>
                    <a:pt x="2515" y="658"/>
                  </a:cubicBezTo>
                  <a:lnTo>
                    <a:pt x="2686" y="658"/>
                  </a:lnTo>
                  <a:cubicBezTo>
                    <a:pt x="2666" y="783"/>
                    <a:pt x="2563" y="879"/>
                    <a:pt x="2389" y="879"/>
                  </a:cubicBezTo>
                  <a:close/>
                  <a:moveTo>
                    <a:pt x="2257" y="456"/>
                  </a:moveTo>
                  <a:lnTo>
                    <a:pt x="2506" y="456"/>
                  </a:lnTo>
                  <a:cubicBezTo>
                    <a:pt x="2502" y="358"/>
                    <a:pt x="2457" y="316"/>
                    <a:pt x="2384" y="316"/>
                  </a:cubicBezTo>
                  <a:cubicBezTo>
                    <a:pt x="2325" y="316"/>
                    <a:pt x="2272" y="348"/>
                    <a:pt x="2257" y="456"/>
                  </a:cubicBezTo>
                  <a:close/>
                  <a:moveTo>
                    <a:pt x="2800" y="200"/>
                  </a:moveTo>
                  <a:lnTo>
                    <a:pt x="2986" y="200"/>
                  </a:lnTo>
                  <a:lnTo>
                    <a:pt x="2986" y="300"/>
                  </a:lnTo>
                  <a:cubicBezTo>
                    <a:pt x="3019" y="237"/>
                    <a:pt x="3085" y="187"/>
                    <a:pt x="3186" y="187"/>
                  </a:cubicBezTo>
                  <a:cubicBezTo>
                    <a:pt x="3307" y="187"/>
                    <a:pt x="3387" y="259"/>
                    <a:pt x="3387" y="420"/>
                  </a:cubicBezTo>
                  <a:lnTo>
                    <a:pt x="3387" y="865"/>
                  </a:lnTo>
                  <a:lnTo>
                    <a:pt x="3202" y="865"/>
                  </a:lnTo>
                  <a:lnTo>
                    <a:pt x="3202" y="448"/>
                  </a:lnTo>
                  <a:cubicBezTo>
                    <a:pt x="3202" y="371"/>
                    <a:pt x="3170" y="336"/>
                    <a:pt x="3103" y="336"/>
                  </a:cubicBezTo>
                  <a:cubicBezTo>
                    <a:pt x="3038" y="336"/>
                    <a:pt x="2986" y="376"/>
                    <a:pt x="2986" y="460"/>
                  </a:cubicBezTo>
                  <a:lnTo>
                    <a:pt x="2986" y="865"/>
                  </a:lnTo>
                  <a:lnTo>
                    <a:pt x="2800" y="865"/>
                  </a:lnTo>
                  <a:lnTo>
                    <a:pt x="2800" y="200"/>
                  </a:lnTo>
                  <a:close/>
                  <a:moveTo>
                    <a:pt x="3734" y="0"/>
                  </a:moveTo>
                  <a:lnTo>
                    <a:pt x="3734" y="200"/>
                  </a:lnTo>
                  <a:lnTo>
                    <a:pt x="3861" y="200"/>
                  </a:lnTo>
                  <a:lnTo>
                    <a:pt x="3861" y="339"/>
                  </a:lnTo>
                  <a:lnTo>
                    <a:pt x="3734" y="339"/>
                  </a:lnTo>
                  <a:lnTo>
                    <a:pt x="3734" y="654"/>
                  </a:lnTo>
                  <a:cubicBezTo>
                    <a:pt x="3734" y="703"/>
                    <a:pt x="3757" y="726"/>
                    <a:pt x="3800" y="726"/>
                  </a:cubicBezTo>
                  <a:cubicBezTo>
                    <a:pt x="3827" y="726"/>
                    <a:pt x="3847" y="722"/>
                    <a:pt x="3865" y="715"/>
                  </a:cubicBezTo>
                  <a:lnTo>
                    <a:pt x="3865" y="860"/>
                  </a:lnTo>
                  <a:cubicBezTo>
                    <a:pt x="3843" y="866"/>
                    <a:pt x="3806" y="874"/>
                    <a:pt x="3760" y="874"/>
                  </a:cubicBezTo>
                  <a:cubicBezTo>
                    <a:pt x="3616" y="874"/>
                    <a:pt x="3547" y="807"/>
                    <a:pt x="3547" y="673"/>
                  </a:cubicBezTo>
                  <a:lnTo>
                    <a:pt x="3547" y="339"/>
                  </a:lnTo>
                  <a:lnTo>
                    <a:pt x="3470" y="339"/>
                  </a:lnTo>
                  <a:lnTo>
                    <a:pt x="3470" y="200"/>
                  </a:lnTo>
                  <a:lnTo>
                    <a:pt x="3547" y="200"/>
                  </a:lnTo>
                  <a:lnTo>
                    <a:pt x="3547" y="76"/>
                  </a:lnTo>
                  <a:lnTo>
                    <a:pt x="3734" y="0"/>
                  </a:lnTo>
                  <a:close/>
                  <a:moveTo>
                    <a:pt x="4559" y="865"/>
                  </a:moveTo>
                  <a:lnTo>
                    <a:pt x="4374" y="865"/>
                  </a:lnTo>
                  <a:lnTo>
                    <a:pt x="4374" y="767"/>
                  </a:lnTo>
                  <a:cubicBezTo>
                    <a:pt x="4342" y="830"/>
                    <a:pt x="4280" y="879"/>
                    <a:pt x="4181" y="879"/>
                  </a:cubicBezTo>
                  <a:cubicBezTo>
                    <a:pt x="4062" y="879"/>
                    <a:pt x="3974" y="806"/>
                    <a:pt x="3974" y="650"/>
                  </a:cubicBezTo>
                  <a:lnTo>
                    <a:pt x="3974" y="200"/>
                  </a:lnTo>
                  <a:lnTo>
                    <a:pt x="4161" y="200"/>
                  </a:lnTo>
                  <a:lnTo>
                    <a:pt x="4161" y="622"/>
                  </a:lnTo>
                  <a:cubicBezTo>
                    <a:pt x="4161" y="698"/>
                    <a:pt x="4191" y="734"/>
                    <a:pt x="4257" y="734"/>
                  </a:cubicBezTo>
                  <a:cubicBezTo>
                    <a:pt x="4322" y="734"/>
                    <a:pt x="4374" y="693"/>
                    <a:pt x="4374" y="611"/>
                  </a:cubicBezTo>
                  <a:lnTo>
                    <a:pt x="4374" y="200"/>
                  </a:lnTo>
                  <a:lnTo>
                    <a:pt x="4559" y="200"/>
                  </a:lnTo>
                  <a:lnTo>
                    <a:pt x="4559" y="865"/>
                  </a:lnTo>
                  <a:close/>
                  <a:moveTo>
                    <a:pt x="4694" y="200"/>
                  </a:moveTo>
                  <a:lnTo>
                    <a:pt x="4879" y="200"/>
                  </a:lnTo>
                  <a:lnTo>
                    <a:pt x="4879" y="322"/>
                  </a:lnTo>
                  <a:cubicBezTo>
                    <a:pt x="4919" y="233"/>
                    <a:pt x="4981" y="192"/>
                    <a:pt x="5079" y="192"/>
                  </a:cubicBezTo>
                  <a:lnTo>
                    <a:pt x="5079" y="374"/>
                  </a:lnTo>
                  <a:cubicBezTo>
                    <a:pt x="4953" y="374"/>
                    <a:pt x="4879" y="413"/>
                    <a:pt x="4879" y="523"/>
                  </a:cubicBezTo>
                  <a:lnTo>
                    <a:pt x="4879" y="865"/>
                  </a:lnTo>
                  <a:lnTo>
                    <a:pt x="4694" y="865"/>
                  </a:lnTo>
                  <a:lnTo>
                    <a:pt x="4694" y="200"/>
                  </a:lnTo>
                  <a:close/>
                  <a:moveTo>
                    <a:pt x="5460" y="879"/>
                  </a:moveTo>
                  <a:cubicBezTo>
                    <a:pt x="5268" y="879"/>
                    <a:pt x="5137" y="764"/>
                    <a:pt x="5137" y="543"/>
                  </a:cubicBezTo>
                  <a:lnTo>
                    <a:pt x="5137" y="531"/>
                  </a:lnTo>
                  <a:cubicBezTo>
                    <a:pt x="5137" y="308"/>
                    <a:pt x="5276" y="187"/>
                    <a:pt x="5453" y="187"/>
                  </a:cubicBezTo>
                  <a:cubicBezTo>
                    <a:pt x="5618" y="187"/>
                    <a:pt x="5757" y="279"/>
                    <a:pt x="5757" y="499"/>
                  </a:cubicBezTo>
                  <a:lnTo>
                    <a:pt x="5757" y="579"/>
                  </a:lnTo>
                  <a:lnTo>
                    <a:pt x="5325" y="579"/>
                  </a:lnTo>
                  <a:cubicBezTo>
                    <a:pt x="5333" y="698"/>
                    <a:pt x="5384" y="744"/>
                    <a:pt x="5464" y="744"/>
                  </a:cubicBezTo>
                  <a:cubicBezTo>
                    <a:pt x="5535" y="744"/>
                    <a:pt x="5573" y="706"/>
                    <a:pt x="5585" y="658"/>
                  </a:cubicBezTo>
                  <a:lnTo>
                    <a:pt x="5757" y="658"/>
                  </a:lnTo>
                  <a:cubicBezTo>
                    <a:pt x="5737" y="783"/>
                    <a:pt x="5634" y="879"/>
                    <a:pt x="5460" y="879"/>
                  </a:cubicBezTo>
                  <a:close/>
                  <a:moveTo>
                    <a:pt x="5328" y="456"/>
                  </a:moveTo>
                  <a:lnTo>
                    <a:pt x="5577" y="456"/>
                  </a:lnTo>
                  <a:cubicBezTo>
                    <a:pt x="5573" y="358"/>
                    <a:pt x="5528" y="316"/>
                    <a:pt x="5455" y="316"/>
                  </a:cubicBezTo>
                  <a:cubicBezTo>
                    <a:pt x="5396" y="316"/>
                    <a:pt x="5343" y="348"/>
                    <a:pt x="5328" y="45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350"/>
            </a:p>
          </p:txBody>
        </p:sp>
        <p:sp>
          <p:nvSpPr>
            <p:cNvPr id="9" name="Freeform 95">
              <a:extLst>
                <a:ext uri="{FF2B5EF4-FFF2-40B4-BE49-F238E27FC236}">
                  <a16:creationId xmlns:a16="http://schemas.microsoft.com/office/drawing/2014/main" id="{884634D5-BFFF-4EE8-AD58-8FFD6BA54D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49500" y="1985963"/>
              <a:ext cx="1916112" cy="431800"/>
            </a:xfrm>
            <a:custGeom>
              <a:avLst/>
              <a:gdLst>
                <a:gd name="T0" fmla="*/ 0 w 5314"/>
                <a:gd name="T1" fmla="*/ 595 h 1191"/>
                <a:gd name="T2" fmla="*/ 451 w 5314"/>
                <a:gd name="T3" fmla="*/ 510 h 1191"/>
                <a:gd name="T4" fmla="*/ 98 w 5314"/>
                <a:gd name="T5" fmla="*/ 674 h 1191"/>
                <a:gd name="T6" fmla="*/ 549 w 5314"/>
                <a:gd name="T7" fmla="*/ 737 h 1191"/>
                <a:gd name="T8" fmla="*/ 639 w 5314"/>
                <a:gd name="T9" fmla="*/ 594 h 1191"/>
                <a:gd name="T10" fmla="*/ 1220 w 5314"/>
                <a:gd name="T11" fmla="*/ 671 h 1191"/>
                <a:gd name="T12" fmla="*/ 1122 w 5314"/>
                <a:gd name="T13" fmla="*/ 673 h 1191"/>
                <a:gd name="T14" fmla="*/ 737 w 5314"/>
                <a:gd name="T15" fmla="*/ 594 h 1191"/>
                <a:gd name="T16" fmla="*/ 1122 w 5314"/>
                <a:gd name="T17" fmla="*/ 673 h 1191"/>
                <a:gd name="T18" fmla="*/ 1443 w 5314"/>
                <a:gd name="T19" fmla="*/ 401 h 1191"/>
                <a:gd name="T20" fmla="*/ 1849 w 5314"/>
                <a:gd name="T21" fmla="*/ 965 h 1191"/>
                <a:gd name="T22" fmla="*/ 1612 w 5314"/>
                <a:gd name="T23" fmla="*/ 372 h 1191"/>
                <a:gd name="T24" fmla="*/ 1348 w 5314"/>
                <a:gd name="T25" fmla="*/ 965 h 1191"/>
                <a:gd name="T26" fmla="*/ 1959 w 5314"/>
                <a:gd name="T27" fmla="*/ 764 h 1191"/>
                <a:gd name="T28" fmla="*/ 2344 w 5314"/>
                <a:gd name="T29" fmla="*/ 788 h 1191"/>
                <a:gd name="T30" fmla="*/ 2191 w 5314"/>
                <a:gd name="T31" fmla="*/ 290 h 1191"/>
                <a:gd name="T32" fmla="*/ 2191 w 5314"/>
                <a:gd name="T33" fmla="*/ 369 h 1191"/>
                <a:gd name="T34" fmla="*/ 2435 w 5314"/>
                <a:gd name="T35" fmla="*/ 782 h 1191"/>
                <a:gd name="T36" fmla="*/ 2948 w 5314"/>
                <a:gd name="T37" fmla="*/ 965 h 1191"/>
                <a:gd name="T38" fmla="*/ 2548 w 5314"/>
                <a:gd name="T39" fmla="*/ 741 h 1191"/>
                <a:gd name="T40" fmla="*/ 2643 w 5314"/>
                <a:gd name="T41" fmla="*/ 737 h 1191"/>
                <a:gd name="T42" fmla="*/ 2948 w 5314"/>
                <a:gd name="T43" fmla="*/ 300 h 1191"/>
                <a:gd name="T44" fmla="*/ 3207 w 5314"/>
                <a:gd name="T45" fmla="*/ 0 h 1191"/>
                <a:gd name="T46" fmla="*/ 3207 w 5314"/>
                <a:gd name="T47" fmla="*/ 965 h 1191"/>
                <a:gd name="T48" fmla="*/ 3594 w 5314"/>
                <a:gd name="T49" fmla="*/ 300 h 1191"/>
                <a:gd name="T50" fmla="*/ 3594 w 5314"/>
                <a:gd name="T51" fmla="*/ 382 h 1191"/>
                <a:gd name="T52" fmla="*/ 3744 w 5314"/>
                <a:gd name="T53" fmla="*/ 880 h 1191"/>
                <a:gd name="T54" fmla="*/ 3498 w 5314"/>
                <a:gd name="T55" fmla="*/ 806 h 1191"/>
                <a:gd name="T56" fmla="*/ 3410 w 5314"/>
                <a:gd name="T57" fmla="*/ 300 h 1191"/>
                <a:gd name="T58" fmla="*/ 3594 w 5314"/>
                <a:gd name="T59" fmla="*/ 153 h 1191"/>
                <a:gd name="T60" fmla="*/ 3978 w 5314"/>
                <a:gd name="T61" fmla="*/ 106 h 1191"/>
                <a:gd name="T62" fmla="*/ 3868 w 5314"/>
                <a:gd name="T63" fmla="*/ 300 h 1191"/>
                <a:gd name="T64" fmla="*/ 3868 w 5314"/>
                <a:gd name="T65" fmla="*/ 965 h 1191"/>
                <a:gd name="T66" fmla="*/ 4221 w 5314"/>
                <a:gd name="T67" fmla="*/ 300 h 1191"/>
                <a:gd name="T68" fmla="*/ 4627 w 5314"/>
                <a:gd name="T69" fmla="*/ 534 h 1191"/>
                <a:gd name="T70" fmla="*/ 4530 w 5314"/>
                <a:gd name="T71" fmla="*/ 528 h 1191"/>
                <a:gd name="T72" fmla="*/ 4221 w 5314"/>
                <a:gd name="T73" fmla="*/ 965 h 1191"/>
                <a:gd name="T74" fmla="*/ 5031 w 5314"/>
                <a:gd name="T75" fmla="*/ 1191 h 1191"/>
                <a:gd name="T76" fmla="*/ 5030 w 5314"/>
                <a:gd name="T77" fmla="*/ 1111 h 1191"/>
                <a:gd name="T78" fmla="*/ 5014 w 5314"/>
                <a:gd name="T79" fmla="*/ 946 h 1191"/>
                <a:gd name="T80" fmla="*/ 5022 w 5314"/>
                <a:gd name="T81" fmla="*/ 290 h 1191"/>
                <a:gd name="T82" fmla="*/ 5314 w 5314"/>
                <a:gd name="T83" fmla="*/ 300 h 1191"/>
                <a:gd name="T84" fmla="*/ 5220 w 5314"/>
                <a:gd name="T85" fmla="*/ 652 h 1191"/>
                <a:gd name="T86" fmla="*/ 4848 w 5314"/>
                <a:gd name="T87" fmla="*/ 582 h 1191"/>
                <a:gd name="T88" fmla="*/ 5220 w 5314"/>
                <a:gd name="T89" fmla="*/ 652 h 1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314" h="1191">
                  <a:moveTo>
                    <a:pt x="290" y="975"/>
                  </a:moveTo>
                  <a:cubicBezTo>
                    <a:pt x="124" y="975"/>
                    <a:pt x="0" y="863"/>
                    <a:pt x="0" y="674"/>
                  </a:cubicBezTo>
                  <a:lnTo>
                    <a:pt x="0" y="595"/>
                  </a:lnTo>
                  <a:cubicBezTo>
                    <a:pt x="0" y="408"/>
                    <a:pt x="127" y="290"/>
                    <a:pt x="286" y="290"/>
                  </a:cubicBezTo>
                  <a:cubicBezTo>
                    <a:pt x="416" y="290"/>
                    <a:pt x="530" y="350"/>
                    <a:pt x="545" y="510"/>
                  </a:cubicBezTo>
                  <a:lnTo>
                    <a:pt x="451" y="510"/>
                  </a:lnTo>
                  <a:cubicBezTo>
                    <a:pt x="440" y="406"/>
                    <a:pt x="370" y="369"/>
                    <a:pt x="286" y="369"/>
                  </a:cubicBezTo>
                  <a:cubicBezTo>
                    <a:pt x="177" y="369"/>
                    <a:pt x="98" y="453"/>
                    <a:pt x="98" y="595"/>
                  </a:cubicBezTo>
                  <a:lnTo>
                    <a:pt x="98" y="674"/>
                  </a:lnTo>
                  <a:cubicBezTo>
                    <a:pt x="98" y="821"/>
                    <a:pt x="176" y="896"/>
                    <a:pt x="290" y="896"/>
                  </a:cubicBezTo>
                  <a:cubicBezTo>
                    <a:pt x="376" y="896"/>
                    <a:pt x="453" y="845"/>
                    <a:pt x="460" y="737"/>
                  </a:cubicBezTo>
                  <a:lnTo>
                    <a:pt x="549" y="737"/>
                  </a:lnTo>
                  <a:cubicBezTo>
                    <a:pt x="539" y="882"/>
                    <a:pt x="435" y="975"/>
                    <a:pt x="290" y="975"/>
                  </a:cubicBezTo>
                  <a:close/>
                  <a:moveTo>
                    <a:pt x="639" y="673"/>
                  </a:moveTo>
                  <a:lnTo>
                    <a:pt x="639" y="594"/>
                  </a:lnTo>
                  <a:cubicBezTo>
                    <a:pt x="639" y="412"/>
                    <a:pt x="761" y="290"/>
                    <a:pt x="930" y="290"/>
                  </a:cubicBezTo>
                  <a:cubicBezTo>
                    <a:pt x="1099" y="290"/>
                    <a:pt x="1220" y="410"/>
                    <a:pt x="1220" y="593"/>
                  </a:cubicBezTo>
                  <a:lnTo>
                    <a:pt x="1220" y="671"/>
                  </a:lnTo>
                  <a:cubicBezTo>
                    <a:pt x="1220" y="855"/>
                    <a:pt x="1099" y="975"/>
                    <a:pt x="929" y="975"/>
                  </a:cubicBezTo>
                  <a:cubicBezTo>
                    <a:pt x="759" y="975"/>
                    <a:pt x="639" y="850"/>
                    <a:pt x="639" y="673"/>
                  </a:cubicBezTo>
                  <a:close/>
                  <a:moveTo>
                    <a:pt x="1122" y="673"/>
                  </a:moveTo>
                  <a:lnTo>
                    <a:pt x="1122" y="595"/>
                  </a:lnTo>
                  <a:cubicBezTo>
                    <a:pt x="1122" y="455"/>
                    <a:pt x="1047" y="369"/>
                    <a:pt x="930" y="369"/>
                  </a:cubicBezTo>
                  <a:cubicBezTo>
                    <a:pt x="811" y="369"/>
                    <a:pt x="737" y="457"/>
                    <a:pt x="737" y="594"/>
                  </a:cubicBezTo>
                  <a:lnTo>
                    <a:pt x="737" y="673"/>
                  </a:lnTo>
                  <a:cubicBezTo>
                    <a:pt x="737" y="808"/>
                    <a:pt x="809" y="896"/>
                    <a:pt x="930" y="896"/>
                  </a:cubicBezTo>
                  <a:cubicBezTo>
                    <a:pt x="1048" y="896"/>
                    <a:pt x="1122" y="808"/>
                    <a:pt x="1122" y="673"/>
                  </a:cubicBezTo>
                  <a:close/>
                  <a:moveTo>
                    <a:pt x="1348" y="300"/>
                  </a:moveTo>
                  <a:lnTo>
                    <a:pt x="1443" y="300"/>
                  </a:lnTo>
                  <a:lnTo>
                    <a:pt x="1443" y="401"/>
                  </a:lnTo>
                  <a:cubicBezTo>
                    <a:pt x="1471" y="342"/>
                    <a:pt x="1538" y="290"/>
                    <a:pt x="1639" y="290"/>
                  </a:cubicBezTo>
                  <a:cubicBezTo>
                    <a:pt x="1763" y="290"/>
                    <a:pt x="1849" y="360"/>
                    <a:pt x="1849" y="534"/>
                  </a:cubicBezTo>
                  <a:lnTo>
                    <a:pt x="1849" y="965"/>
                  </a:lnTo>
                  <a:lnTo>
                    <a:pt x="1753" y="965"/>
                  </a:lnTo>
                  <a:lnTo>
                    <a:pt x="1753" y="528"/>
                  </a:lnTo>
                  <a:cubicBezTo>
                    <a:pt x="1753" y="421"/>
                    <a:pt x="1709" y="372"/>
                    <a:pt x="1612" y="372"/>
                  </a:cubicBezTo>
                  <a:cubicBezTo>
                    <a:pt x="1522" y="372"/>
                    <a:pt x="1443" y="431"/>
                    <a:pt x="1443" y="539"/>
                  </a:cubicBezTo>
                  <a:lnTo>
                    <a:pt x="1443" y="965"/>
                  </a:lnTo>
                  <a:lnTo>
                    <a:pt x="1348" y="965"/>
                  </a:lnTo>
                  <a:lnTo>
                    <a:pt x="1348" y="300"/>
                  </a:lnTo>
                  <a:close/>
                  <a:moveTo>
                    <a:pt x="2206" y="975"/>
                  </a:moveTo>
                  <a:cubicBezTo>
                    <a:pt x="2057" y="975"/>
                    <a:pt x="1963" y="895"/>
                    <a:pt x="1959" y="764"/>
                  </a:cubicBezTo>
                  <a:lnTo>
                    <a:pt x="2053" y="764"/>
                  </a:lnTo>
                  <a:cubicBezTo>
                    <a:pt x="2058" y="844"/>
                    <a:pt x="2105" y="896"/>
                    <a:pt x="2205" y="896"/>
                  </a:cubicBezTo>
                  <a:cubicBezTo>
                    <a:pt x="2300" y="896"/>
                    <a:pt x="2344" y="859"/>
                    <a:pt x="2344" y="788"/>
                  </a:cubicBezTo>
                  <a:cubicBezTo>
                    <a:pt x="2344" y="718"/>
                    <a:pt x="2294" y="694"/>
                    <a:pt x="2194" y="667"/>
                  </a:cubicBezTo>
                  <a:cubicBezTo>
                    <a:pt x="2039" y="627"/>
                    <a:pt x="1977" y="580"/>
                    <a:pt x="1977" y="469"/>
                  </a:cubicBezTo>
                  <a:cubicBezTo>
                    <a:pt x="1977" y="353"/>
                    <a:pt x="2087" y="290"/>
                    <a:pt x="2191" y="290"/>
                  </a:cubicBezTo>
                  <a:cubicBezTo>
                    <a:pt x="2307" y="290"/>
                    <a:pt x="2406" y="341"/>
                    <a:pt x="2417" y="480"/>
                  </a:cubicBezTo>
                  <a:lnTo>
                    <a:pt x="2326" y="480"/>
                  </a:lnTo>
                  <a:cubicBezTo>
                    <a:pt x="2314" y="405"/>
                    <a:pt x="2269" y="369"/>
                    <a:pt x="2191" y="369"/>
                  </a:cubicBezTo>
                  <a:cubicBezTo>
                    <a:pt x="2116" y="369"/>
                    <a:pt x="2067" y="407"/>
                    <a:pt x="2067" y="466"/>
                  </a:cubicBezTo>
                  <a:cubicBezTo>
                    <a:pt x="2067" y="528"/>
                    <a:pt x="2106" y="552"/>
                    <a:pt x="2219" y="581"/>
                  </a:cubicBezTo>
                  <a:cubicBezTo>
                    <a:pt x="2347" y="614"/>
                    <a:pt x="2435" y="650"/>
                    <a:pt x="2435" y="782"/>
                  </a:cubicBezTo>
                  <a:cubicBezTo>
                    <a:pt x="2435" y="899"/>
                    <a:pt x="2359" y="975"/>
                    <a:pt x="2206" y="975"/>
                  </a:cubicBezTo>
                  <a:close/>
                  <a:moveTo>
                    <a:pt x="3045" y="965"/>
                  </a:moveTo>
                  <a:lnTo>
                    <a:pt x="2948" y="965"/>
                  </a:lnTo>
                  <a:lnTo>
                    <a:pt x="2948" y="864"/>
                  </a:lnTo>
                  <a:cubicBezTo>
                    <a:pt x="2920" y="924"/>
                    <a:pt x="2853" y="975"/>
                    <a:pt x="2756" y="975"/>
                  </a:cubicBezTo>
                  <a:cubicBezTo>
                    <a:pt x="2634" y="975"/>
                    <a:pt x="2548" y="907"/>
                    <a:pt x="2548" y="741"/>
                  </a:cubicBezTo>
                  <a:lnTo>
                    <a:pt x="2548" y="300"/>
                  </a:lnTo>
                  <a:lnTo>
                    <a:pt x="2643" y="300"/>
                  </a:lnTo>
                  <a:lnTo>
                    <a:pt x="2643" y="737"/>
                  </a:lnTo>
                  <a:cubicBezTo>
                    <a:pt x="2643" y="845"/>
                    <a:pt x="2688" y="892"/>
                    <a:pt x="2782" y="892"/>
                  </a:cubicBezTo>
                  <a:cubicBezTo>
                    <a:pt x="2869" y="892"/>
                    <a:pt x="2948" y="834"/>
                    <a:pt x="2948" y="726"/>
                  </a:cubicBezTo>
                  <a:lnTo>
                    <a:pt x="2948" y="300"/>
                  </a:lnTo>
                  <a:lnTo>
                    <a:pt x="3045" y="300"/>
                  </a:lnTo>
                  <a:lnTo>
                    <a:pt x="3045" y="965"/>
                  </a:lnTo>
                  <a:close/>
                  <a:moveTo>
                    <a:pt x="3207" y="0"/>
                  </a:moveTo>
                  <a:lnTo>
                    <a:pt x="3305" y="0"/>
                  </a:lnTo>
                  <a:lnTo>
                    <a:pt x="3305" y="965"/>
                  </a:lnTo>
                  <a:lnTo>
                    <a:pt x="3207" y="965"/>
                  </a:lnTo>
                  <a:lnTo>
                    <a:pt x="3207" y="0"/>
                  </a:lnTo>
                  <a:close/>
                  <a:moveTo>
                    <a:pt x="3594" y="153"/>
                  </a:moveTo>
                  <a:lnTo>
                    <a:pt x="3594" y="300"/>
                  </a:lnTo>
                  <a:lnTo>
                    <a:pt x="3738" y="300"/>
                  </a:lnTo>
                  <a:lnTo>
                    <a:pt x="3738" y="382"/>
                  </a:lnTo>
                  <a:lnTo>
                    <a:pt x="3594" y="382"/>
                  </a:lnTo>
                  <a:lnTo>
                    <a:pt x="3594" y="797"/>
                  </a:lnTo>
                  <a:cubicBezTo>
                    <a:pt x="3594" y="862"/>
                    <a:pt x="3621" y="891"/>
                    <a:pt x="3673" y="891"/>
                  </a:cubicBezTo>
                  <a:cubicBezTo>
                    <a:pt x="3702" y="891"/>
                    <a:pt x="3727" y="887"/>
                    <a:pt x="3744" y="880"/>
                  </a:cubicBezTo>
                  <a:lnTo>
                    <a:pt x="3744" y="960"/>
                  </a:lnTo>
                  <a:cubicBezTo>
                    <a:pt x="3727" y="966"/>
                    <a:pt x="3702" y="972"/>
                    <a:pt x="3666" y="972"/>
                  </a:cubicBezTo>
                  <a:cubicBezTo>
                    <a:pt x="3553" y="972"/>
                    <a:pt x="3498" y="907"/>
                    <a:pt x="3498" y="806"/>
                  </a:cubicBezTo>
                  <a:lnTo>
                    <a:pt x="3498" y="382"/>
                  </a:lnTo>
                  <a:lnTo>
                    <a:pt x="3410" y="382"/>
                  </a:lnTo>
                  <a:lnTo>
                    <a:pt x="3410" y="300"/>
                  </a:lnTo>
                  <a:lnTo>
                    <a:pt x="3498" y="300"/>
                  </a:lnTo>
                  <a:lnTo>
                    <a:pt x="3498" y="153"/>
                  </a:lnTo>
                  <a:lnTo>
                    <a:pt x="3594" y="153"/>
                  </a:lnTo>
                  <a:close/>
                  <a:moveTo>
                    <a:pt x="3852" y="106"/>
                  </a:moveTo>
                  <a:cubicBezTo>
                    <a:pt x="3852" y="72"/>
                    <a:pt x="3880" y="43"/>
                    <a:pt x="3915" y="43"/>
                  </a:cubicBezTo>
                  <a:cubicBezTo>
                    <a:pt x="3950" y="43"/>
                    <a:pt x="3978" y="72"/>
                    <a:pt x="3978" y="106"/>
                  </a:cubicBezTo>
                  <a:cubicBezTo>
                    <a:pt x="3978" y="142"/>
                    <a:pt x="3950" y="170"/>
                    <a:pt x="3915" y="170"/>
                  </a:cubicBezTo>
                  <a:cubicBezTo>
                    <a:pt x="3880" y="170"/>
                    <a:pt x="3852" y="142"/>
                    <a:pt x="3852" y="106"/>
                  </a:cubicBezTo>
                  <a:close/>
                  <a:moveTo>
                    <a:pt x="3868" y="300"/>
                  </a:moveTo>
                  <a:lnTo>
                    <a:pt x="3963" y="300"/>
                  </a:lnTo>
                  <a:lnTo>
                    <a:pt x="3963" y="965"/>
                  </a:lnTo>
                  <a:lnTo>
                    <a:pt x="3868" y="965"/>
                  </a:lnTo>
                  <a:lnTo>
                    <a:pt x="3868" y="300"/>
                  </a:lnTo>
                  <a:close/>
                  <a:moveTo>
                    <a:pt x="4125" y="300"/>
                  </a:moveTo>
                  <a:lnTo>
                    <a:pt x="4221" y="300"/>
                  </a:lnTo>
                  <a:lnTo>
                    <a:pt x="4221" y="401"/>
                  </a:lnTo>
                  <a:cubicBezTo>
                    <a:pt x="4249" y="342"/>
                    <a:pt x="4316" y="290"/>
                    <a:pt x="4416" y="290"/>
                  </a:cubicBezTo>
                  <a:cubicBezTo>
                    <a:pt x="4541" y="290"/>
                    <a:pt x="4627" y="360"/>
                    <a:pt x="4627" y="534"/>
                  </a:cubicBezTo>
                  <a:lnTo>
                    <a:pt x="4627" y="965"/>
                  </a:lnTo>
                  <a:lnTo>
                    <a:pt x="4530" y="965"/>
                  </a:lnTo>
                  <a:lnTo>
                    <a:pt x="4530" y="528"/>
                  </a:lnTo>
                  <a:cubicBezTo>
                    <a:pt x="4530" y="421"/>
                    <a:pt x="4486" y="372"/>
                    <a:pt x="4389" y="372"/>
                  </a:cubicBezTo>
                  <a:cubicBezTo>
                    <a:pt x="4299" y="372"/>
                    <a:pt x="4221" y="431"/>
                    <a:pt x="4221" y="539"/>
                  </a:cubicBezTo>
                  <a:lnTo>
                    <a:pt x="4221" y="965"/>
                  </a:lnTo>
                  <a:lnTo>
                    <a:pt x="4125" y="965"/>
                  </a:lnTo>
                  <a:lnTo>
                    <a:pt x="4125" y="300"/>
                  </a:lnTo>
                  <a:close/>
                  <a:moveTo>
                    <a:pt x="5031" y="1191"/>
                  </a:moveTo>
                  <a:cubicBezTo>
                    <a:pt x="4854" y="1191"/>
                    <a:pt x="4774" y="1109"/>
                    <a:pt x="4760" y="1001"/>
                  </a:cubicBezTo>
                  <a:lnTo>
                    <a:pt x="4857" y="1001"/>
                  </a:lnTo>
                  <a:cubicBezTo>
                    <a:pt x="4869" y="1075"/>
                    <a:pt x="4927" y="1111"/>
                    <a:pt x="5030" y="1111"/>
                  </a:cubicBezTo>
                  <a:cubicBezTo>
                    <a:pt x="5146" y="1111"/>
                    <a:pt x="5219" y="1053"/>
                    <a:pt x="5219" y="921"/>
                  </a:cubicBezTo>
                  <a:lnTo>
                    <a:pt x="5219" y="826"/>
                  </a:lnTo>
                  <a:cubicBezTo>
                    <a:pt x="5184" y="888"/>
                    <a:pt x="5106" y="946"/>
                    <a:pt x="5014" y="946"/>
                  </a:cubicBezTo>
                  <a:cubicBezTo>
                    <a:pt x="4859" y="946"/>
                    <a:pt x="4750" y="833"/>
                    <a:pt x="4750" y="660"/>
                  </a:cubicBezTo>
                  <a:lnTo>
                    <a:pt x="4750" y="585"/>
                  </a:lnTo>
                  <a:cubicBezTo>
                    <a:pt x="4750" y="416"/>
                    <a:pt x="4861" y="290"/>
                    <a:pt x="5022" y="290"/>
                  </a:cubicBezTo>
                  <a:cubicBezTo>
                    <a:pt x="5123" y="290"/>
                    <a:pt x="5186" y="341"/>
                    <a:pt x="5219" y="403"/>
                  </a:cubicBezTo>
                  <a:lnTo>
                    <a:pt x="5219" y="300"/>
                  </a:lnTo>
                  <a:lnTo>
                    <a:pt x="5314" y="300"/>
                  </a:lnTo>
                  <a:lnTo>
                    <a:pt x="5314" y="927"/>
                  </a:lnTo>
                  <a:cubicBezTo>
                    <a:pt x="5314" y="1106"/>
                    <a:pt x="5198" y="1191"/>
                    <a:pt x="5031" y="1191"/>
                  </a:cubicBezTo>
                  <a:close/>
                  <a:moveTo>
                    <a:pt x="5220" y="652"/>
                  </a:moveTo>
                  <a:lnTo>
                    <a:pt x="5220" y="584"/>
                  </a:lnTo>
                  <a:cubicBezTo>
                    <a:pt x="5220" y="448"/>
                    <a:pt x="5150" y="369"/>
                    <a:pt x="5033" y="369"/>
                  </a:cubicBezTo>
                  <a:cubicBezTo>
                    <a:pt x="4917" y="369"/>
                    <a:pt x="4848" y="453"/>
                    <a:pt x="4848" y="582"/>
                  </a:cubicBezTo>
                  <a:lnTo>
                    <a:pt x="4848" y="659"/>
                  </a:lnTo>
                  <a:cubicBezTo>
                    <a:pt x="4848" y="793"/>
                    <a:pt x="4925" y="866"/>
                    <a:pt x="5027" y="866"/>
                  </a:cubicBezTo>
                  <a:cubicBezTo>
                    <a:pt x="5139" y="866"/>
                    <a:pt x="5220" y="788"/>
                    <a:pt x="5220" y="6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350"/>
            </a:p>
          </p:txBody>
        </p:sp>
      </p:grp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431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431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059622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80466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285751" y="1059657"/>
            <a:ext cx="8572499" cy="700192"/>
          </a:xfrm>
        </p:spPr>
        <p:txBody>
          <a:bodyPr>
            <a:spAutoFit/>
          </a:bodyPr>
          <a:lstStyle>
            <a:lvl3pPr marL="402431" indent="-136922">
              <a:buFont typeface="Arial" panose="020B0604020202020204" pitchFamily="34" charset="0"/>
              <a:buChar char="-"/>
              <a:defRPr/>
            </a:lvl3pPr>
            <a:lvl5pPr marL="642922" indent="-133347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41813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46569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285751" y="1350000"/>
            <a:ext cx="8572499" cy="700192"/>
          </a:xfrm>
        </p:spPr>
        <p:txBody>
          <a:bodyPr>
            <a:spAutoFit/>
          </a:bodyPr>
          <a:lstStyle>
            <a:lvl3pPr marL="402431" indent="-136922">
              <a:buFont typeface="Arial" panose="020B0604020202020204" pitchFamily="34" charset="0"/>
              <a:buChar char="-"/>
              <a:defRPr/>
            </a:lvl3pPr>
            <a:lvl5pPr marL="642922" indent="-133347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285750" y="1059657"/>
            <a:ext cx="8572500" cy="22852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65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91636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285750" y="1059657"/>
            <a:ext cx="8572500" cy="22852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65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10843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93128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 userDrawn="1"/>
        </p:nvSpPr>
        <p:spPr>
          <a:xfrm>
            <a:off x="285750" y="4963057"/>
            <a:ext cx="1877117" cy="10387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marR="0" indent="0" algn="l" defTabSz="546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675">
                <a:solidFill>
                  <a:schemeClr val="bg1">
                    <a:lumMod val="65000"/>
                  </a:schemeClr>
                </a:solidFill>
              </a:rPr>
              <a:t>Copyright © 2019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 userDrawn="1"/>
        </p:nvSpPr>
        <p:spPr>
          <a:xfrm>
            <a:off x="8391765" y="4963057"/>
            <a:ext cx="466485" cy="10387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675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675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262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2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7" name="Segnaposto contenuto 2"/>
          <p:cNvSpPr>
            <a:spLocks noGrp="1"/>
          </p:cNvSpPr>
          <p:nvPr>
            <p:ph sz="quarter" idx="15"/>
          </p:nvPr>
        </p:nvSpPr>
        <p:spPr>
          <a:xfrm>
            <a:off x="347664" y="1301819"/>
            <a:ext cx="8391525" cy="3243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22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208005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4" y="1262063"/>
            <a:ext cx="8391525" cy="3283744"/>
          </a:xfrm>
        </p:spPr>
        <p:txBody>
          <a:bodyPr wrap="square"/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 typeface="Wingdings" charset="2"/>
              <a:buChar char="v"/>
              <a:defRPr sz="2000" b="1" i="0" baseline="0"/>
            </a:lvl1pPr>
            <a:lvl2pPr marL="0" indent="-180000">
              <a:lnSpc>
                <a:spcPct val="100000"/>
              </a:lnSpc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000" baseline="0"/>
            </a:lvl2pPr>
            <a:lvl3pPr marL="0" indent="-180000">
              <a:lnSpc>
                <a:spcPct val="100000"/>
              </a:lnSpc>
              <a:buFont typeface="Arial"/>
              <a:buChar char="•"/>
              <a:defRPr sz="1000"/>
            </a:lvl3pPr>
            <a:lvl4pPr marL="0" indent="-180000">
              <a:lnSpc>
                <a:spcPct val="100000"/>
              </a:lnSpc>
              <a:defRPr sz="1000"/>
            </a:lvl4pPr>
            <a:lvl5pPr marL="0" indent="-180000">
              <a:lnSpc>
                <a:spcPct val="100000"/>
              </a:lnSpc>
              <a:buFont typeface="Arial"/>
              <a:buChar char="•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2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7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3861648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Item +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8"/>
          </p:nvPr>
        </p:nvSpPr>
        <p:spPr>
          <a:xfrm>
            <a:off x="347664" y="3569014"/>
            <a:ext cx="8391525" cy="976793"/>
          </a:xfrm>
        </p:spPr>
        <p:txBody>
          <a:bodyPr wrap="square" lIns="72000" tIns="72000" rIns="72000"/>
          <a:lstStyle>
            <a:lvl1pPr>
              <a:lnSpc>
                <a:spcPct val="100000"/>
              </a:lnSpc>
              <a:defRPr sz="800"/>
            </a:lvl1pPr>
            <a:lvl2pPr marL="194400" indent="-1944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ct val="100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ct val="100000"/>
              </a:lnSpc>
              <a:defRPr sz="800"/>
            </a:lvl4pPr>
            <a:lvl5pPr marL="460800" indent="-194400">
              <a:lnSpc>
                <a:spcPct val="100000"/>
              </a:lnSpc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Rettangolo 3"/>
          <p:cNvSpPr/>
          <p:nvPr userDrawn="1"/>
        </p:nvSpPr>
        <p:spPr>
          <a:xfrm>
            <a:off x="347301" y="3569014"/>
            <a:ext cx="8392071" cy="97679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17" name="Segnaposto contenuto 4"/>
          <p:cNvSpPr>
            <a:spLocks noGrp="1"/>
          </p:cNvSpPr>
          <p:nvPr>
            <p:ph sz="quarter" idx="21"/>
          </p:nvPr>
        </p:nvSpPr>
        <p:spPr>
          <a:xfrm>
            <a:off x="347664" y="1262063"/>
            <a:ext cx="8391525" cy="223242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20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33487116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 1 + Item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3679201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20"/>
          </p:nvPr>
        </p:nvSpPr>
        <p:spPr>
          <a:xfrm>
            <a:off x="347664" y="1262062"/>
            <a:ext cx="8391525" cy="976793"/>
          </a:xfrm>
        </p:spPr>
        <p:txBody>
          <a:bodyPr wrap="square" lIns="72000" tIns="72000" rIns="72000"/>
          <a:lstStyle>
            <a:lvl1pPr>
              <a:lnSpc>
                <a:spcPct val="100000"/>
              </a:lnSpc>
              <a:defRPr sz="800"/>
            </a:lvl1pPr>
            <a:lvl2pPr marL="194400" indent="-1944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ct val="100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ct val="100000"/>
              </a:lnSpc>
              <a:defRPr sz="800"/>
            </a:lvl4pPr>
            <a:lvl5pPr marL="460800" indent="-194400">
              <a:lnSpc>
                <a:spcPct val="100000"/>
              </a:lnSpc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21" name="Rettangolo 20"/>
          <p:cNvSpPr/>
          <p:nvPr userDrawn="1"/>
        </p:nvSpPr>
        <p:spPr>
          <a:xfrm>
            <a:off x="347301" y="1262062"/>
            <a:ext cx="8392071" cy="97679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19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20" name="Segnaposto contenuto 2"/>
          <p:cNvSpPr>
            <a:spLocks noGrp="1"/>
          </p:cNvSpPr>
          <p:nvPr>
            <p:ph sz="quarter" idx="22"/>
          </p:nvPr>
        </p:nvSpPr>
        <p:spPr>
          <a:xfrm>
            <a:off x="347664" y="2313385"/>
            <a:ext cx="8391525" cy="223242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8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22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27258990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 + Item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539205" y="205169"/>
            <a:ext cx="200167" cy="133739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>
          <a:xfrm>
            <a:off x="3680152" y="4844988"/>
            <a:ext cx="799815" cy="85725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613300" y="4844989"/>
            <a:ext cx="2895600" cy="85725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14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4" y="1262063"/>
            <a:ext cx="4132303" cy="328374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16000" cy="724560"/>
          </a:xfrm>
          <a:prstGeom prst="rect">
            <a:avLst/>
          </a:prstGeom>
        </p:spPr>
      </p:pic>
      <p:sp>
        <p:nvSpPr>
          <p:cNvPr id="23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0" y="205169"/>
            <a:ext cx="2223124" cy="86993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00</a:t>
            </a:r>
          </a:p>
        </p:txBody>
      </p:sp>
      <p:sp>
        <p:nvSpPr>
          <p:cNvPr id="15" name="Segnaposto contenuto 2"/>
          <p:cNvSpPr>
            <a:spLocks noGrp="1"/>
          </p:cNvSpPr>
          <p:nvPr>
            <p:ph sz="quarter" idx="17"/>
          </p:nvPr>
        </p:nvSpPr>
        <p:spPr>
          <a:xfrm>
            <a:off x="4613276" y="1262063"/>
            <a:ext cx="4125913" cy="328374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787" y="4651599"/>
            <a:ext cx="444281" cy="360000"/>
          </a:xfrm>
          <a:prstGeom prst="rect">
            <a:avLst/>
          </a:prstGeom>
        </p:spPr>
      </p:pic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842723"/>
            <a:ext cx="8386686" cy="29033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Slide </a:t>
            </a:r>
            <a:r>
              <a:rPr lang="it-IT" err="1"/>
              <a:t>Subtitle</a:t>
            </a:r>
            <a:r>
              <a:rPr lang="it-IT"/>
              <a:t> </a:t>
            </a:r>
            <a:r>
              <a:rPr lang="it-IT" err="1"/>
              <a:t>Arial</a:t>
            </a:r>
            <a:r>
              <a:rPr lang="it-IT"/>
              <a:t> Regular 15/17pt</a:t>
            </a:r>
          </a:p>
        </p:txBody>
      </p:sp>
      <p:sp>
        <p:nvSpPr>
          <p:cNvPr id="17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348433"/>
            <a:ext cx="8386686" cy="467789"/>
          </a:xfrm>
        </p:spPr>
        <p:txBody>
          <a:bodyPr/>
          <a:lstStyle>
            <a:lvl1pPr>
              <a:lnSpc>
                <a:spcPct val="1000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Slide Title </a:t>
            </a:r>
            <a:r>
              <a:rPr lang="it-IT" err="1"/>
              <a:t>Arial</a:t>
            </a:r>
            <a:r>
              <a:rPr lang="it-IT"/>
              <a:t> Regular 20/22pt</a:t>
            </a:r>
          </a:p>
        </p:txBody>
      </p:sp>
    </p:spTree>
    <p:extLst>
      <p:ext uri="{BB962C8B-B14F-4D97-AF65-F5344CB8AC3E}">
        <p14:creationId xmlns:p14="http://schemas.microsoft.com/office/powerpoint/2010/main" val="4058321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5080001" y="4767263"/>
            <a:ext cx="132079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8 April 2020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465455" y="4767263"/>
            <a:ext cx="1539393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/>
              <a:t>Maven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266545" y="4767263"/>
            <a:ext cx="42025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object 3"/>
          <p:cNvSpPr txBox="1"/>
          <p:nvPr/>
        </p:nvSpPr>
        <p:spPr>
          <a:xfrm>
            <a:off x="347300" y="4844988"/>
            <a:ext cx="1977185" cy="857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0" indent="0" algn="l" defTabSz="457200" rtl="0" eaLnBrk="1" fontAlgn="auto" latinLnBrk="0" hangingPunct="1">
              <a:lnSpc>
                <a:spcPct val="95825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700" spc="0">
                <a:solidFill>
                  <a:schemeClr val="tx2"/>
                </a:solidFill>
                <a:latin typeface="Arial"/>
                <a:cs typeface="Arial"/>
              </a:rPr>
              <a:t>© </a:t>
            </a:r>
            <a:r>
              <a:rPr lang="it-IT" sz="700" spc="0">
                <a:solidFill>
                  <a:schemeClr val="tx2"/>
                </a:solidFill>
                <a:latin typeface="Arial"/>
                <a:cs typeface="Arial"/>
              </a:rPr>
              <a:t>Legal </a:t>
            </a:r>
            <a:r>
              <a:rPr lang="it-IT" sz="700" spc="0" err="1">
                <a:solidFill>
                  <a:schemeClr val="tx2"/>
                </a:solidFill>
                <a:latin typeface="Arial"/>
                <a:cs typeface="Arial"/>
              </a:rPr>
              <a:t>Name</a:t>
            </a:r>
            <a:endParaRPr lang="it-IT" sz="700">
              <a:solidFill>
                <a:schemeClr val="tx2"/>
              </a:solidFill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0"/>
              </a:spcBef>
            </a:pPr>
            <a:endParaRPr sz="70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9" name="object 3"/>
          <p:cNvSpPr txBox="1"/>
          <p:nvPr/>
        </p:nvSpPr>
        <p:spPr>
          <a:xfrm>
            <a:off x="2449613" y="4844988"/>
            <a:ext cx="1121782" cy="857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0" indent="0" algn="l" defTabSz="457200" rtl="0" eaLnBrk="1" fontAlgn="auto" latinLnBrk="0" hangingPunct="1">
              <a:lnSpc>
                <a:spcPct val="95825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700" spc="0">
                <a:solidFill>
                  <a:schemeClr val="tx2"/>
                </a:solidFill>
                <a:latin typeface="Arial"/>
                <a:cs typeface="Arial"/>
              </a:rPr>
              <a:t>City</a:t>
            </a:r>
            <a:endParaRPr lang="it-IT" sz="700">
              <a:solidFill>
                <a:schemeClr val="tx2"/>
              </a:solidFill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0"/>
              </a:spcBef>
            </a:pPr>
            <a:endParaRPr sz="70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fl" descr="         Internal"/>
          <p:cNvSpPr txBox="1"/>
          <p:nvPr/>
        </p:nvSpPr>
        <p:spPr>
          <a:xfrm>
            <a:off x="0" y="495046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50" b="0" i="0" u="none" baseline="0">
                <a:solidFill>
                  <a:srgbClr val="CA001F"/>
                </a:solidFill>
                <a:latin typeface="arial"/>
              </a:rPr>
              <a:t>         Internal</a:t>
            </a:r>
          </a:p>
        </p:txBody>
      </p:sp>
    </p:spTree>
    <p:extLst>
      <p:ext uri="{BB962C8B-B14F-4D97-AF65-F5344CB8AC3E}">
        <p14:creationId xmlns:p14="http://schemas.microsoft.com/office/powerpoint/2010/main" val="3198065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51" r:id="rId2"/>
    <p:sldLayoutId id="2147483660" r:id="rId3"/>
    <p:sldLayoutId id="2147483652" r:id="rId4"/>
    <p:sldLayoutId id="2147483653" r:id="rId5"/>
    <p:sldLayoutId id="2147483677" r:id="rId6"/>
    <p:sldLayoutId id="2147483663" r:id="rId7"/>
    <p:sldLayoutId id="2147483664" r:id="rId8"/>
    <p:sldLayoutId id="2147483655" r:id="rId9"/>
    <p:sldLayoutId id="2147483694" r:id="rId10"/>
    <p:sldLayoutId id="2147483666" r:id="rId11"/>
    <p:sldLayoutId id="2147483689" r:id="rId12"/>
    <p:sldLayoutId id="2147483690" r:id="rId13"/>
    <p:sldLayoutId id="2147483698" r:id="rId14"/>
    <p:sldLayoutId id="2147483678" r:id="rId15"/>
    <p:sldLayoutId id="2147483679" r:id="rId16"/>
    <p:sldLayoutId id="2147483669" r:id="rId17"/>
    <p:sldLayoutId id="2147483703" r:id="rId18"/>
    <p:sldLayoutId id="2147483704" r:id="rId19"/>
  </p:sldLayoutIdLst>
  <p:hf hdr="0"/>
  <p:txStyles>
    <p:titleStyle>
      <a:lvl1pPr algn="l" defTabSz="457200" rtl="0" eaLnBrk="1" latinLnBrk="0" hangingPunct="1">
        <a:lnSpc>
          <a:spcPts val="32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ts val="1200"/>
        </a:lnSpc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Clr>
          <a:schemeClr val="tx2"/>
        </a:buClr>
        <a:buFont typeface="Wingdings" charset="2"/>
        <a:buChar char="§"/>
        <a:defRPr sz="1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Font typeface="Lucida Grande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44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Font typeface="Arial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108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Font typeface="Wingdings" charset="2"/>
        <a:buChar char="Ø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5080001" y="4767263"/>
            <a:ext cx="132079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E8C725E-43C2-4F49-845C-25263277443C}" type="datetime4">
              <a:rPr lang="it-IT" smtClean="0"/>
              <a:t>19 aprile 2020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465455" y="4767263"/>
            <a:ext cx="1539393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266545" y="4767263"/>
            <a:ext cx="42025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7" name="object 3"/>
          <p:cNvSpPr txBox="1"/>
          <p:nvPr/>
        </p:nvSpPr>
        <p:spPr>
          <a:xfrm>
            <a:off x="347300" y="4844988"/>
            <a:ext cx="1977185" cy="857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0" indent="0" algn="l" defTabSz="457200" rtl="0" eaLnBrk="1" fontAlgn="auto" latinLnBrk="0" hangingPunct="1">
              <a:lnSpc>
                <a:spcPct val="95825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700" spc="0">
                <a:solidFill>
                  <a:schemeClr val="tx2"/>
                </a:solidFill>
                <a:latin typeface="Arial"/>
                <a:cs typeface="Arial"/>
              </a:rPr>
              <a:t>© </a:t>
            </a:r>
            <a:r>
              <a:rPr lang="it-IT" sz="700" spc="0">
                <a:solidFill>
                  <a:schemeClr val="tx2"/>
                </a:solidFill>
                <a:latin typeface="Arial"/>
                <a:cs typeface="Arial"/>
              </a:rPr>
              <a:t>Legal </a:t>
            </a:r>
            <a:r>
              <a:rPr lang="it-IT" sz="700" spc="0" err="1">
                <a:solidFill>
                  <a:schemeClr val="tx2"/>
                </a:solidFill>
                <a:latin typeface="Arial"/>
                <a:cs typeface="Arial"/>
              </a:rPr>
              <a:t>Name</a:t>
            </a:r>
            <a:endParaRPr lang="it-IT" sz="700">
              <a:solidFill>
                <a:schemeClr val="tx2"/>
              </a:solidFill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0"/>
              </a:spcBef>
            </a:pPr>
            <a:endParaRPr sz="70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9" name="object 3"/>
          <p:cNvSpPr txBox="1"/>
          <p:nvPr/>
        </p:nvSpPr>
        <p:spPr>
          <a:xfrm>
            <a:off x="2449613" y="4844988"/>
            <a:ext cx="1121782" cy="857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0" indent="0" algn="l" defTabSz="457200" rtl="0" eaLnBrk="1" fontAlgn="auto" latinLnBrk="0" hangingPunct="1">
              <a:lnSpc>
                <a:spcPct val="95825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700" spc="0">
                <a:solidFill>
                  <a:schemeClr val="tx2"/>
                </a:solidFill>
                <a:latin typeface="Arial"/>
                <a:cs typeface="Arial"/>
              </a:rPr>
              <a:t>City</a:t>
            </a:r>
            <a:endParaRPr lang="it-IT" sz="700">
              <a:solidFill>
                <a:schemeClr val="tx2"/>
              </a:solidFill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0"/>
              </a:spcBef>
            </a:pPr>
            <a:endParaRPr sz="70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fl" descr="         Internal"/>
          <p:cNvSpPr txBox="1"/>
          <p:nvPr/>
        </p:nvSpPr>
        <p:spPr>
          <a:xfrm>
            <a:off x="0" y="495046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50" b="0" i="0" u="none" baseline="0">
                <a:solidFill>
                  <a:srgbClr val="CA001F"/>
                </a:solidFill>
                <a:latin typeface="arial"/>
              </a:rPr>
              <a:t>         Internal</a:t>
            </a:r>
          </a:p>
        </p:txBody>
      </p:sp>
    </p:spTree>
    <p:extLst>
      <p:ext uri="{BB962C8B-B14F-4D97-AF65-F5344CB8AC3E}">
        <p14:creationId xmlns:p14="http://schemas.microsoft.com/office/powerpoint/2010/main" val="3709196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</p:sldLayoutIdLst>
  <p:hf hdr="0"/>
  <p:txStyles>
    <p:titleStyle>
      <a:lvl1pPr algn="l" defTabSz="457200" rtl="0" eaLnBrk="1" latinLnBrk="0" hangingPunct="1">
        <a:lnSpc>
          <a:spcPts val="32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ts val="1200"/>
        </a:lnSpc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Clr>
          <a:schemeClr val="tx2"/>
        </a:buClr>
        <a:buFont typeface="Wingdings" charset="2"/>
        <a:buChar char="§"/>
        <a:defRPr sz="1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Font typeface="Lucida Grande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44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Font typeface="Arial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10800" indent="-180000" algn="l" defTabSz="457200" rtl="0" eaLnBrk="1" latinLnBrk="0" hangingPunct="1">
        <a:lnSpc>
          <a:spcPts val="1200"/>
        </a:lnSpc>
        <a:spcBef>
          <a:spcPts val="0"/>
        </a:spcBef>
        <a:spcAft>
          <a:spcPts val="0"/>
        </a:spcAft>
        <a:buFont typeface="Wingdings" charset="2"/>
        <a:buChar char="Ø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50" y="285749"/>
            <a:ext cx="8572500" cy="675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750" y="1059657"/>
            <a:ext cx="8572500" cy="70019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85750" y="4963057"/>
            <a:ext cx="1877117" cy="10387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marR="0" indent="0" algn="l" defTabSz="546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675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19 Accenture. All rights reserved.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391765" y="4963057"/>
            <a:ext cx="466485" cy="10387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675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675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322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hf hdr="0" dt="0"/>
  <p:txStyles>
    <p:titleStyle>
      <a:lvl1pPr marL="0" indent="0" algn="l" defTabSz="685783" rtl="0" eaLnBrk="1" latinLnBrk="0" hangingPunct="1">
        <a:lnSpc>
          <a:spcPct val="80000"/>
        </a:lnSpc>
        <a:spcBef>
          <a:spcPct val="0"/>
        </a:spcBef>
        <a:buNone/>
        <a:defRPr sz="2400" b="0" kern="1200" cap="all" baseline="0">
          <a:solidFill>
            <a:schemeClr val="accent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133350" indent="-133350" algn="l" defTabSz="685783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•"/>
        <a:defRPr sz="1500" b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71463" indent="-138113" algn="l" defTabSz="685783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02431" indent="-130969" algn="l" defTabSz="685783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14337" indent="-128585" algn="l" defTabSz="685783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2922" indent="-133347" algn="l" defTabSz="685783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771506" indent="-12977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41671" indent="0" algn="l" defTabSz="685783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9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41671" indent="0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3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1671" indent="0" algn="l" defTabSz="685783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9" pos="240">
          <p15:clr>
            <a:srgbClr val="F26B43"/>
          </p15:clr>
        </p15:guide>
        <p15:guide id="11" pos="38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gif"/><Relationship Id="rId3" Type="http://schemas.openxmlformats.org/officeDocument/2006/relationships/chart" Target="../charts/chart1.xml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gi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/>
              <a:t>API Developer Training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/>
              <a:t>Introduction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7773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623F91-AD31-4CB9-ADD3-47B74407F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9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7C09B1-6B33-4C96-B8BC-B8F9D87DBF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51FC66-BC10-4EF1-85EE-05E472CC1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2C76818-1BA4-4A6D-9F59-BC15FCDD11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urse Logistics 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70C34110-4F3E-40EB-8F57-D0D0322C21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At the start of training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4D20AD-C525-41EB-86CD-FDA3B0CCD8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B37E03F-D3BF-44E6-AC5F-086A631EF38D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>
                <a:latin typeface="Graphik" panose="020B0503030202060203" pitchFamily="34" charset="0"/>
              </a:rPr>
              <a:t>Login to Online training site (WebEx or Zoo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>
              <a:latin typeface="Graphik" panose="020B050303020206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Graphik" panose="020B0503030202060203" pitchFamily="34" charset="0"/>
              </a:rPr>
              <a:t>Login to MS Teams before the training starts. Trainees will download files, access OneNote notice board there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>
              <a:latin typeface="Graphik" panose="020B0503030202060203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>
                <a:latin typeface="Graphik" panose="020B0503030202060203" pitchFamily="34" charset="0"/>
              </a:rPr>
              <a:t> Do a roll call to take attendance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>
              <a:latin typeface="Graphik" panose="020B0503030202060203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>
                <a:latin typeface="Graphik" panose="020B0503030202060203" pitchFamily="34" charset="0"/>
              </a:rPr>
              <a:t>Show training calendar to recap where we are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>
              <a:latin typeface="Graphik" panose="020B0503030202060203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>
                <a:latin typeface="Graphik" panose="020B0503030202060203" pitchFamily="34" charset="0"/>
              </a:rPr>
              <a:t>Thai local trainer to introduce a bit in Thai about what we plan today</a:t>
            </a:r>
          </a:p>
          <a:p>
            <a:pPr lvl="0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D8A064-B8A6-4276-8547-B4B3E38163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20867" y="2826183"/>
            <a:ext cx="3907316" cy="132297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B2B989-6561-4552-8CE0-07AF3B5449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670" y="2806460"/>
            <a:ext cx="3875953" cy="233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2392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623F91-AD31-4CB9-ADD3-47B74407F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10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7C09B1-6B33-4C96-B8BC-B8F9D87DBF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51FC66-BC10-4EF1-85EE-05E472CC1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2C76818-1BA4-4A6D-9F59-BC15FCDD11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urse Logistics 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70C34110-4F3E-40EB-8F57-D0D0322C21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During training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4D20AD-C525-41EB-86CD-FDA3B0CCD8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B37E03F-D3BF-44E6-AC5F-086A631EF38D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>
                <a:latin typeface="Graphik" panose="020B0503030202060203" pitchFamily="34" charset="0"/>
              </a:rPr>
              <a:t>Trainer to deliver the training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>
              <a:latin typeface="Graphik" panose="020B0503030202060203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>
                <a:latin typeface="Graphik" panose="020B0503030202060203" pitchFamily="34" charset="0"/>
              </a:rPr>
              <a:t>Use “Raise hand” function or type your questions in Chat box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>
              <a:latin typeface="Graphik" panose="020B0503030202060203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>
                <a:latin typeface="Graphik" panose="020B0503030202060203" pitchFamily="34" charset="0"/>
              </a:rPr>
              <a:t>Moderator (Anuwat, Adolphus or other trainer) to support and capture questions in Chat box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>
              <a:latin typeface="Graphik" panose="020B0503030202060203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>
                <a:latin typeface="Graphik" panose="020B0503030202060203" pitchFamily="34" charset="0"/>
              </a:rPr>
              <a:t>Break for 10-15min every hour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>
              <a:latin typeface="Graphik" panose="020B0503030202060203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>
                <a:latin typeface="Graphik" panose="020B0503030202060203" pitchFamily="34" charset="0"/>
              </a:rPr>
              <a:t>Be prepared – You will get frequent direct questions / quiz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>
              <a:latin typeface="Graphik" panose="020B0503030202060203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>
                <a:latin typeface="Graphik" panose="020B0503030202060203" pitchFamily="34" charset="0"/>
              </a:rPr>
              <a:t>Refer to the Teams OneNote board for additional information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8558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9271333-0AEC-4C60-AB35-DC2DB04E5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11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E52A0E-17A4-4E67-A494-170277E5F5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334C81-BE04-4143-BFFB-43C052428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2566F38-1E80-4BB8-9308-7EA6E22C28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21B94DD-6D5E-4B65-8779-BAF8EB57151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3C684A-AA2C-4627-AF01-01B9E7DF4D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ourse Introduction</a:t>
            </a:r>
          </a:p>
        </p:txBody>
      </p:sp>
    </p:spTree>
    <p:extLst>
      <p:ext uri="{BB962C8B-B14F-4D97-AF65-F5344CB8AC3E}">
        <p14:creationId xmlns:p14="http://schemas.microsoft.com/office/powerpoint/2010/main" val="38023922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9271333-0AEC-4C60-AB35-DC2DB04E5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12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E52A0E-17A4-4E67-A494-170277E5F5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334C81-BE04-4143-BFFB-43C052428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7BADB59-AC4B-458C-9E43-71294BA243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urse Introduction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61F99B38-363E-4B1D-8CDA-477308BF7B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3C684A-AA2C-4627-AF01-01B9E7DF4D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/>
              <a:t>What is API</a:t>
            </a:r>
          </a:p>
        </p:txBody>
      </p:sp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BFBA255B-C1ED-4F7B-9365-36F06AF7D0EA}"/>
              </a:ext>
            </a:extLst>
          </p:cNvPr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739231703"/>
              </p:ext>
            </p:extLst>
          </p:nvPr>
        </p:nvGraphicFramePr>
        <p:xfrm>
          <a:off x="347300" y="658742"/>
          <a:ext cx="8162967" cy="4442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7099">
                  <a:extLst>
                    <a:ext uri="{9D8B030D-6E8A-4147-A177-3AD203B41FA5}">
                      <a16:colId xmlns:a16="http://schemas.microsoft.com/office/drawing/2014/main" val="479949314"/>
                    </a:ext>
                  </a:extLst>
                </a:gridCol>
                <a:gridCol w="7255868">
                  <a:extLst>
                    <a:ext uri="{9D8B030D-6E8A-4147-A177-3AD203B41FA5}">
                      <a16:colId xmlns:a16="http://schemas.microsoft.com/office/drawing/2014/main" val="116838608"/>
                    </a:ext>
                  </a:extLst>
                </a:gridCol>
              </a:tblGrid>
              <a:tr h="358116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Topic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201612"/>
                  </a:ext>
                </a:extLst>
              </a:tr>
              <a:tr h="55925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Course Introduction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Test Driven Develop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4192197"/>
                  </a:ext>
                </a:extLst>
              </a:tr>
              <a:tr h="55925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Tools, REST, Swagger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Spring and Spring Boot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0136286"/>
                  </a:ext>
                </a:extLst>
              </a:tr>
              <a:tr h="559250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Spring and Spring Boot 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Mav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2678039"/>
                  </a:ext>
                </a:extLst>
              </a:tr>
              <a:tr h="358116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Microservice and API Development  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5690514"/>
                  </a:ext>
                </a:extLst>
              </a:tr>
              <a:tr h="358116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Microservice and API Development   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/>
                        <a:t>Introduction of CIC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8466199"/>
                  </a:ext>
                </a:extLst>
              </a:tr>
              <a:tr h="358116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Test Automation 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5345869"/>
                  </a:ext>
                </a:extLst>
              </a:tr>
              <a:tr h="358116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Application Security Best Practic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634475"/>
                  </a:ext>
                </a:extLst>
              </a:tr>
              <a:tr h="282555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ELK Over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35118"/>
                  </a:ext>
                </a:extLst>
              </a:tr>
              <a:tr h="358116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Final Assess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0967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00355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9271333-0AEC-4C60-AB35-DC2DB04E5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13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E52A0E-17A4-4E67-A494-170277E5F5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334C81-BE04-4143-BFFB-43C052428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2566F38-1E80-4BB8-9308-7EA6E22C28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21B94DD-6D5E-4B65-8779-BAF8EB57151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3C684A-AA2C-4627-AF01-01B9E7DF4D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What is API</a:t>
            </a:r>
          </a:p>
        </p:txBody>
      </p:sp>
    </p:spTree>
    <p:extLst>
      <p:ext uri="{BB962C8B-B14F-4D97-AF65-F5344CB8AC3E}">
        <p14:creationId xmlns:p14="http://schemas.microsoft.com/office/powerpoint/2010/main" val="41608737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8B1945-29E1-40B1-A06C-0A754C029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14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855561-33E0-46B2-9FF2-1592542F9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194B00-CEA3-4036-B6D4-233B48A911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13D9FC-F671-4518-AA8E-6AE26476172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hat is API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821C9323-A255-4CEB-995D-85A32DA6665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API Stands for “</a:t>
            </a:r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application programming interface</a:t>
            </a:r>
            <a:r>
              <a:rPr lang="en-US"/>
              <a:t>”</a:t>
            </a:r>
            <a:br>
              <a:rPr lang="en-US"/>
            </a:b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2380AD5-DE0E-4D2F-B4AC-73C53B94B6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ED22621-2984-49C7-9D98-E33BB38E4202}"/>
              </a:ext>
            </a:extLst>
          </p:cNvPr>
          <p:cNvGrpSpPr/>
          <p:nvPr/>
        </p:nvGrpSpPr>
        <p:grpSpPr>
          <a:xfrm>
            <a:off x="3752082" y="1512258"/>
            <a:ext cx="4981904" cy="2132632"/>
            <a:chOff x="5818443" y="2446177"/>
            <a:chExt cx="6081359" cy="243765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4F51015-4DF8-4D8D-B4C1-56E2AC9B49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8443" y="2446177"/>
              <a:ext cx="5992557" cy="2437650"/>
            </a:xfrm>
            <a:prstGeom prst="rect">
              <a:avLst/>
            </a:prstGeom>
            <a:ln>
              <a:noFill/>
            </a:ln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0D22D23-448E-4FC0-AB39-BBFA0AE696A4}"/>
                </a:ext>
              </a:extLst>
            </p:cNvPr>
            <p:cNvSpPr/>
            <p:nvPr/>
          </p:nvSpPr>
          <p:spPr>
            <a:xfrm>
              <a:off x="10014624" y="3699687"/>
              <a:ext cx="1738746" cy="10894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lnSpc>
                  <a:spcPct val="90000"/>
                </a:lnSpc>
              </a:pPr>
              <a:endParaRPr lang="en-US" sz="1600"/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568C1DB-83B5-412E-83E0-9218ECB9AF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506" t="65431"/>
            <a:stretch/>
          </p:blipFill>
          <p:spPr>
            <a:xfrm>
              <a:off x="9952599" y="3667186"/>
              <a:ext cx="1947203" cy="842668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52DEB2BD-4214-40AF-A135-D824B8C6FD95}"/>
              </a:ext>
            </a:extLst>
          </p:cNvPr>
          <p:cNvSpPr/>
          <p:nvPr/>
        </p:nvSpPr>
        <p:spPr>
          <a:xfrm>
            <a:off x="292044" y="1465512"/>
            <a:ext cx="376757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API’s </a:t>
            </a:r>
            <a:r>
              <a:rPr lang="en-US" sz="1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a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r</a:t>
            </a:r>
            <a:r>
              <a:rPr lang="en-US" sz="1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e the </a:t>
            </a:r>
            <a:r>
              <a:rPr lang="en-US" sz="16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bridge</a:t>
            </a:r>
            <a:r>
              <a:rPr lang="en-US" sz="1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 that make it possible for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a product or service to connect with other systems/data sources</a:t>
            </a:r>
            <a:r>
              <a:rPr lang="en-US" sz="1600" b="1">
                <a:solidFill>
                  <a:srgbClr val="A100FF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and create better value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  <a:p>
            <a:pPr marL="0" marR="0" lvl="0" indent="0" algn="l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hey are used to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A100FF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expose </a:t>
            </a:r>
            <a:r>
              <a:rPr lang="en-US" sz="1600" b="1">
                <a:solidFill>
                  <a:srgbClr val="A100FF"/>
                </a:solidFill>
                <a:latin typeface="+mj-lt"/>
                <a:cs typeface="Arial" panose="020B0604020202020204" pitchFamily="34" charset="0"/>
              </a:rPr>
              <a:t>business, data , functionality &amp; service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o the outside world and third parties in a controlled fashion.</a:t>
            </a:r>
          </a:p>
        </p:txBody>
      </p:sp>
    </p:spTree>
    <p:extLst>
      <p:ext uri="{BB962C8B-B14F-4D97-AF65-F5344CB8AC3E}">
        <p14:creationId xmlns:p14="http://schemas.microsoft.com/office/powerpoint/2010/main" val="7823299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BC03D3E-D860-48E7-B07F-C17E27804BB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0429" cy="514406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7D6F7A-C44B-4C27-8E5A-436FDAC2E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15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BCB309-F9AA-46BF-A6CF-D4A976ABB5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A9535C-69B4-4ED7-B543-9CD958FE3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36241D6-4015-4679-B8EB-CD94F9B341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hat is API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96BD17D1-C78D-4202-81A8-5E0CC6B5B6E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50000"/>
                  </a:schemeClr>
                </a:solidFill>
              </a:rPr>
              <a:t>Application programming interfaces (API) fuel innovation and speed up implementation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7FE20A-E992-4FDE-B84A-5874EA57F4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9" name="Content Placeholder 19">
            <a:extLst>
              <a:ext uri="{FF2B5EF4-FFF2-40B4-BE49-F238E27FC236}">
                <a16:creationId xmlns:a16="http://schemas.microsoft.com/office/drawing/2014/main" id="{41D09A96-5940-45EA-8040-9699FF7FE6D0}"/>
              </a:ext>
            </a:extLst>
          </p:cNvPr>
          <p:cNvSpPr txBox="1">
            <a:spLocks/>
          </p:cNvSpPr>
          <p:nvPr/>
        </p:nvSpPr>
        <p:spPr>
          <a:xfrm>
            <a:off x="359532" y="2658336"/>
            <a:ext cx="2966161" cy="1425582"/>
          </a:xfrm>
          <a:prstGeom prst="rect">
            <a:avLst/>
          </a:prstGeom>
        </p:spPr>
        <p:txBody>
          <a:bodyPr anchor="t" anchorCtr="1"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8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800" b="0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0975" indent="-18097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6827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76213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85783"/>
            <a:r>
              <a:rPr lang="en-US" sz="1200">
                <a:solidFill>
                  <a:prstClr val="black">
                    <a:lumMod val="65000"/>
                    <a:lumOff val="35000"/>
                  </a:prstClr>
                </a:solidFill>
              </a:rPr>
              <a:t>APIs can be </a:t>
            </a:r>
            <a:r>
              <a:rPr lang="en-US" sz="1200" b="1">
                <a:solidFill>
                  <a:prstClr val="black"/>
                </a:solidFill>
              </a:rPr>
              <a:t>easily</a:t>
            </a:r>
            <a:r>
              <a:rPr lang="en-US" sz="1200">
                <a:solidFill>
                  <a:prstClr val="black"/>
                </a:solidFill>
              </a:rPr>
              <a:t> </a:t>
            </a:r>
            <a:r>
              <a:rPr lang="en-US" sz="1200" b="1">
                <a:solidFill>
                  <a:prstClr val="black"/>
                </a:solidFill>
              </a:rPr>
              <a:t>understood</a:t>
            </a:r>
            <a:r>
              <a:rPr lang="en-US" sz="1200">
                <a:solidFill>
                  <a:prstClr val="black"/>
                </a:solidFill>
              </a:rPr>
              <a:t> </a:t>
            </a:r>
            <a:r>
              <a:rPr lang="en-US" sz="1200">
                <a:solidFill>
                  <a:prstClr val="black">
                    <a:lumMod val="65000"/>
                    <a:lumOff val="35000"/>
                  </a:prstClr>
                </a:solidFill>
              </a:rPr>
              <a:t>and used by internal and external developers and therefore </a:t>
            </a:r>
            <a:r>
              <a:rPr lang="en-US" sz="1200" b="1">
                <a:solidFill>
                  <a:prstClr val="black"/>
                </a:solidFill>
              </a:rPr>
              <a:t>increase</a:t>
            </a:r>
            <a:r>
              <a:rPr lang="en-US" sz="1200">
                <a:solidFill>
                  <a:prstClr val="black"/>
                </a:solidFill>
              </a:rPr>
              <a:t> </a:t>
            </a:r>
            <a:r>
              <a:rPr lang="en-US" sz="1200" b="1">
                <a:solidFill>
                  <a:prstClr val="black"/>
                </a:solidFill>
              </a:rPr>
              <a:t>interoperability</a:t>
            </a:r>
            <a:r>
              <a:rPr lang="en-US" sz="1200">
                <a:solidFill>
                  <a:prstClr val="black"/>
                </a:solidFill>
              </a:rPr>
              <a:t> </a:t>
            </a:r>
            <a:r>
              <a:rPr lang="en-US" sz="1200">
                <a:solidFill>
                  <a:prstClr val="black">
                    <a:lumMod val="65000"/>
                    <a:lumOff val="35000"/>
                  </a:prstClr>
                </a:solidFill>
              </a:rPr>
              <a:t>across organization’s borders. This drives </a:t>
            </a:r>
            <a:r>
              <a:rPr lang="en-US" sz="1200" b="1">
                <a:solidFill>
                  <a:prstClr val="black"/>
                </a:solidFill>
              </a:rPr>
              <a:t>collaboration</a:t>
            </a:r>
            <a:r>
              <a:rPr lang="en-US" sz="1200">
                <a:solidFill>
                  <a:prstClr val="black"/>
                </a:solidFill>
              </a:rPr>
              <a:t> </a:t>
            </a:r>
            <a:r>
              <a:rPr lang="en-US" sz="1200">
                <a:solidFill>
                  <a:prstClr val="black">
                    <a:lumMod val="65000"/>
                    <a:lumOff val="35000"/>
                  </a:prstClr>
                </a:solidFill>
              </a:rPr>
              <a:t>and</a:t>
            </a:r>
            <a:r>
              <a:rPr lang="en-US" sz="1200">
                <a:solidFill>
                  <a:prstClr val="black"/>
                </a:solidFill>
              </a:rPr>
              <a:t> </a:t>
            </a:r>
            <a:r>
              <a:rPr lang="en-US" sz="1200" b="1">
                <a:solidFill>
                  <a:prstClr val="black"/>
                </a:solidFill>
              </a:rPr>
              <a:t>innovation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3536125D-257E-4795-8BF0-2723E689A6D2}"/>
              </a:ext>
            </a:extLst>
          </p:cNvPr>
          <p:cNvSpPr txBox="1">
            <a:spLocks/>
          </p:cNvSpPr>
          <p:nvPr/>
        </p:nvSpPr>
        <p:spPr>
          <a:xfrm>
            <a:off x="3783119" y="2571154"/>
            <a:ext cx="3262777" cy="1108289"/>
          </a:xfrm>
          <a:prstGeom prst="rect">
            <a:avLst/>
          </a:prstGeom>
        </p:spPr>
        <p:txBody>
          <a:bodyPr anchor="t" anchorCtr="1"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8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800" b="0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0975" indent="-18097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6827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76213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 fontAlgn="base">
              <a:spcAft>
                <a:spcPts val="450"/>
              </a:spcAft>
              <a:buSzPct val="110000"/>
            </a:pPr>
            <a:r>
              <a:rPr lang="en-US" altLang="de-DE" sz="1200" b="0">
                <a:solidFill>
                  <a:prstClr val="black">
                    <a:lumMod val="65000"/>
                    <a:lumOff val="35000"/>
                  </a:prstClr>
                </a:solidFill>
              </a:rPr>
              <a:t>APIs allow </a:t>
            </a:r>
            <a:r>
              <a:rPr lang="en-US" altLang="de-DE" sz="1200">
                <a:solidFill>
                  <a:prstClr val="black"/>
                </a:solidFill>
              </a:rPr>
              <a:t>plug &amp; play</a:t>
            </a:r>
            <a:r>
              <a:rPr lang="en-US" altLang="de-DE" sz="1200" b="0">
                <a:solidFill>
                  <a:prstClr val="black"/>
                </a:solidFill>
              </a:rPr>
              <a:t> </a:t>
            </a:r>
            <a:r>
              <a:rPr lang="en-US" altLang="de-DE" sz="1200">
                <a:solidFill>
                  <a:prstClr val="black"/>
                </a:solidFill>
              </a:rPr>
              <a:t>connectivity</a:t>
            </a:r>
            <a:r>
              <a:rPr lang="en-US" altLang="de-DE" sz="1200" b="0">
                <a:solidFill>
                  <a:prstClr val="black"/>
                </a:solidFill>
              </a:rPr>
              <a:t> </a:t>
            </a:r>
            <a:r>
              <a:rPr lang="en-US" altLang="de-DE" sz="1200" b="0">
                <a:solidFill>
                  <a:prstClr val="black">
                    <a:lumMod val="65000"/>
                    <a:lumOff val="35000"/>
                  </a:prstClr>
                </a:solidFill>
              </a:rPr>
              <a:t>to IT services and make a </a:t>
            </a:r>
            <a:r>
              <a:rPr lang="en-US" altLang="de-DE" sz="1200">
                <a:solidFill>
                  <a:prstClr val="black"/>
                </a:solidFill>
              </a:rPr>
              <a:t>rapid</a:t>
            </a:r>
            <a:r>
              <a:rPr lang="en-US" altLang="de-DE" sz="1200" b="0">
                <a:solidFill>
                  <a:prstClr val="black"/>
                </a:solidFill>
              </a:rPr>
              <a:t> </a:t>
            </a:r>
            <a:r>
              <a:rPr lang="en-US" altLang="de-DE" sz="1200">
                <a:solidFill>
                  <a:prstClr val="black"/>
                </a:solidFill>
              </a:rPr>
              <a:t>access</a:t>
            </a:r>
            <a:r>
              <a:rPr lang="en-US" altLang="de-DE" sz="1200" b="0">
                <a:solidFill>
                  <a:prstClr val="black">
                    <a:lumMod val="65000"/>
                    <a:lumOff val="35000"/>
                  </a:prstClr>
                </a:solidFill>
              </a:rPr>
              <a:t> to various systems possible – similar to a</a:t>
            </a:r>
            <a:r>
              <a:rPr lang="en-US" altLang="de-DE" sz="1200" b="0">
                <a:solidFill>
                  <a:prstClr val="black"/>
                </a:solidFill>
              </a:rPr>
              <a:t> </a:t>
            </a:r>
            <a:r>
              <a:rPr lang="en-US" altLang="de-DE" sz="1200">
                <a:solidFill>
                  <a:prstClr val="black"/>
                </a:solidFill>
              </a:rPr>
              <a:t>power</a:t>
            </a:r>
            <a:r>
              <a:rPr lang="en-US" altLang="de-DE" sz="1200" b="0">
                <a:solidFill>
                  <a:prstClr val="black"/>
                </a:solidFill>
              </a:rPr>
              <a:t> </a:t>
            </a:r>
            <a:r>
              <a:rPr lang="en-US" altLang="de-DE" sz="1200">
                <a:solidFill>
                  <a:prstClr val="black"/>
                </a:solidFill>
              </a:rPr>
              <a:t>socket</a:t>
            </a:r>
            <a:r>
              <a:rPr lang="en-US" altLang="de-DE" sz="1200" b="0">
                <a:solidFill>
                  <a:prstClr val="black"/>
                </a:solidFill>
              </a:rPr>
              <a:t>. </a:t>
            </a:r>
            <a:r>
              <a:rPr lang="en-US" altLang="de-DE" sz="1200" b="0">
                <a:solidFill>
                  <a:prstClr val="black">
                    <a:lumMod val="65000"/>
                    <a:lumOff val="35000"/>
                  </a:prstClr>
                </a:solidFill>
              </a:rPr>
              <a:t>This increases</a:t>
            </a:r>
            <a:r>
              <a:rPr lang="en-US" altLang="de-DE" sz="1200" b="0">
                <a:solidFill>
                  <a:prstClr val="black"/>
                </a:solidFill>
              </a:rPr>
              <a:t> </a:t>
            </a:r>
            <a:r>
              <a:rPr lang="en-US" altLang="de-DE" sz="1200">
                <a:solidFill>
                  <a:prstClr val="black"/>
                </a:solidFill>
              </a:rPr>
              <a:t>implementation</a:t>
            </a:r>
            <a:r>
              <a:rPr lang="en-US" altLang="de-DE" sz="1200" b="0">
                <a:solidFill>
                  <a:prstClr val="black"/>
                </a:solidFill>
              </a:rPr>
              <a:t> </a:t>
            </a:r>
            <a:r>
              <a:rPr lang="en-US" altLang="de-DE" sz="1200">
                <a:solidFill>
                  <a:prstClr val="black"/>
                </a:solidFill>
              </a:rPr>
              <a:t>speed</a:t>
            </a:r>
            <a:r>
              <a:rPr lang="en-US" altLang="de-DE" sz="1200" b="0">
                <a:solidFill>
                  <a:prstClr val="black"/>
                </a:solidFill>
              </a:rPr>
              <a:t> </a:t>
            </a:r>
            <a:r>
              <a:rPr lang="en-US" altLang="de-DE" sz="1200" b="0">
                <a:solidFill>
                  <a:prstClr val="black">
                    <a:lumMod val="65000"/>
                    <a:lumOff val="35000"/>
                  </a:prstClr>
                </a:solidFill>
              </a:rPr>
              <a:t>and</a:t>
            </a:r>
            <a:r>
              <a:rPr lang="en-US" altLang="de-DE" sz="1200" b="0">
                <a:solidFill>
                  <a:prstClr val="black"/>
                </a:solidFill>
              </a:rPr>
              <a:t> </a:t>
            </a:r>
            <a:r>
              <a:rPr lang="en-US" altLang="de-DE" sz="1200">
                <a:solidFill>
                  <a:prstClr val="black"/>
                </a:solidFill>
              </a:rPr>
              <a:t>lowers</a:t>
            </a:r>
            <a:r>
              <a:rPr lang="en-US" altLang="de-DE" sz="1200" b="0">
                <a:solidFill>
                  <a:prstClr val="black"/>
                </a:solidFill>
              </a:rPr>
              <a:t> </a:t>
            </a:r>
            <a:r>
              <a:rPr lang="en-US" altLang="de-DE" sz="1200" b="0">
                <a:solidFill>
                  <a:prstClr val="black">
                    <a:lumMod val="65000"/>
                    <a:lumOff val="35000"/>
                  </a:prstClr>
                </a:solidFill>
              </a:rPr>
              <a:t>development</a:t>
            </a:r>
            <a:r>
              <a:rPr lang="en-US" altLang="de-DE" sz="1200" b="0">
                <a:solidFill>
                  <a:prstClr val="black"/>
                </a:solidFill>
              </a:rPr>
              <a:t> </a:t>
            </a:r>
            <a:r>
              <a:rPr lang="en-US" altLang="de-DE" sz="1200">
                <a:solidFill>
                  <a:prstClr val="black"/>
                </a:solidFill>
              </a:rPr>
              <a:t>cost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916E64F-5C5E-4C9A-8251-8E087615DD09}"/>
              </a:ext>
            </a:extLst>
          </p:cNvPr>
          <p:cNvSpPr txBox="1">
            <a:spLocks/>
          </p:cNvSpPr>
          <p:nvPr/>
        </p:nvSpPr>
        <p:spPr>
          <a:xfrm>
            <a:off x="3709264" y="1758369"/>
            <a:ext cx="3262777" cy="5609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-270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 baseline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-270000" algn="l" defTabSz="914400" rtl="0" eaLnBrk="1" latinLnBrk="0" hangingPunct="1">
              <a:spcBef>
                <a:spcPct val="20000"/>
              </a:spcBef>
              <a:buFont typeface="Lucida Grande CE"/>
              <a:buChar char="–"/>
              <a:defRPr sz="2000" kern="1200" baseline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-270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-270000" algn="l" defTabSz="914400" rtl="0" eaLnBrk="1" latinLnBrk="0" hangingPunct="1">
              <a:spcBef>
                <a:spcPct val="20000"/>
              </a:spcBef>
              <a:buFont typeface="Lucida Grande CE"/>
              <a:buChar char="–"/>
              <a:defRPr sz="1600" kern="1200" baseline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 fontAlgn="base">
              <a:lnSpc>
                <a:spcPct val="90000"/>
              </a:lnSpc>
              <a:spcAft>
                <a:spcPts val="450"/>
              </a:spcAft>
              <a:buSzPct val="110000"/>
            </a:pPr>
            <a:r>
              <a:rPr lang="en-US" altLang="de-DE" sz="1350" cap="all">
                <a:solidFill>
                  <a:srgbClr val="A100FF"/>
                </a:solidFill>
                <a:latin typeface="Arial Black" panose="020B0A04020102020204" pitchFamily="34" charset="0"/>
              </a:rPr>
              <a:t>With Standardized, reusable APIs</a:t>
            </a:r>
            <a:r>
              <a:rPr lang="en-US" altLang="de-DE" sz="1350" cap="all" baseline="30000">
                <a:solidFill>
                  <a:srgbClr val="A100FF"/>
                </a:solidFill>
                <a:latin typeface="Arial Black" panose="020B0A04020102020204" pitchFamily="34" charset="0"/>
              </a:rPr>
              <a:t> </a:t>
            </a:r>
            <a:r>
              <a:rPr lang="en-US" altLang="de-DE" sz="1350" cap="all">
                <a:solidFill>
                  <a:srgbClr val="A100FF"/>
                </a:solidFill>
                <a:latin typeface="Arial Black" panose="020B0A04020102020204" pitchFamily="34" charset="0"/>
              </a:rPr>
              <a:t>Digitalization can be accelerated</a:t>
            </a:r>
            <a:endParaRPr lang="en-US" altLang="de-DE" sz="1350" cap="all" baseline="30000">
              <a:solidFill>
                <a:srgbClr val="A100FF"/>
              </a:solidFill>
              <a:latin typeface="Arial Black" panose="020B0A04020102020204" pitchFamily="34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82FD876-40F9-417C-ABBD-6D2E25D4C3A7}"/>
              </a:ext>
            </a:extLst>
          </p:cNvPr>
          <p:cNvSpPr txBox="1">
            <a:spLocks/>
          </p:cNvSpPr>
          <p:nvPr/>
        </p:nvSpPr>
        <p:spPr>
          <a:xfrm>
            <a:off x="48085" y="1761660"/>
            <a:ext cx="3589055" cy="5609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-270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 baseline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-270000" algn="l" defTabSz="914400" rtl="0" eaLnBrk="1" latinLnBrk="0" hangingPunct="1">
              <a:spcBef>
                <a:spcPct val="20000"/>
              </a:spcBef>
              <a:buFont typeface="Lucida Grande CE"/>
              <a:buChar char="–"/>
              <a:defRPr sz="2000" kern="1200" baseline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-270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-270000" algn="l" defTabSz="914400" rtl="0" eaLnBrk="1" latinLnBrk="0" hangingPunct="1">
              <a:spcBef>
                <a:spcPct val="20000"/>
              </a:spcBef>
              <a:buFont typeface="Lucida Grande CE"/>
              <a:buChar char="–"/>
              <a:defRPr sz="1600" kern="1200" baseline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 fontAlgn="base">
              <a:lnSpc>
                <a:spcPct val="90000"/>
              </a:lnSpc>
              <a:spcAft>
                <a:spcPts val="450"/>
              </a:spcAft>
              <a:buSzPct val="110000"/>
            </a:pPr>
            <a:r>
              <a:rPr lang="en-US" altLang="de-DE" sz="1350" cap="all">
                <a:solidFill>
                  <a:srgbClr val="A100FF"/>
                </a:solidFill>
                <a:latin typeface="Arial Black" panose="020B0A04020102020204" pitchFamily="34" charset="0"/>
              </a:rPr>
              <a:t>Because of APIs’ common standard, Collaboration &amp; Innovation is simple</a:t>
            </a:r>
          </a:p>
        </p:txBody>
      </p:sp>
    </p:spTree>
    <p:extLst>
      <p:ext uri="{BB962C8B-B14F-4D97-AF65-F5344CB8AC3E}">
        <p14:creationId xmlns:p14="http://schemas.microsoft.com/office/powerpoint/2010/main" val="25454596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96E20F-C82E-4134-BB85-4A722F3C3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16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395007-F6D3-47C6-9344-0A4937AE0B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8CA032-AD25-4FE3-A94B-1B282D52B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38D2D68-7EEE-4114-9FEF-241B74FEC3C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hat is API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8AF37B2-8C29-4762-859E-85D666D6A1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Examp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C01204-7A9A-4FDF-A601-587C7A8715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1C603E0-0FF4-419A-9819-F2B26CD0CA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796" y="1159562"/>
            <a:ext cx="2116884" cy="348991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8067DE7-D0D8-4CB7-BCA7-DB39EAF851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9710" y="1041440"/>
            <a:ext cx="2116884" cy="348991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DC40B8A-15B2-48B9-95BE-70143F6AD62F}"/>
              </a:ext>
            </a:extLst>
          </p:cNvPr>
          <p:cNvSpPr txBox="1"/>
          <p:nvPr/>
        </p:nvSpPr>
        <p:spPr>
          <a:xfrm>
            <a:off x="6328521" y="1133061"/>
            <a:ext cx="2310982" cy="32506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lnSpc>
                <a:spcPct val="90000"/>
              </a:lnSpc>
              <a:spcBef>
                <a:spcPts val="225"/>
              </a:spcBef>
            </a:pPr>
            <a:r>
              <a:rPr lang="en-US" sz="2100" b="1">
                <a:solidFill>
                  <a:prstClr val="black"/>
                </a:solidFill>
                <a:latin typeface="Arial" panose="020B0604020202020204"/>
              </a:rPr>
              <a:t>UBER</a:t>
            </a:r>
            <a:r>
              <a:rPr lang="en-US" sz="210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 uses </a:t>
            </a:r>
            <a:r>
              <a:rPr lang="en-US" sz="2100" b="1">
                <a:solidFill>
                  <a:srgbClr val="A100FF"/>
                </a:solidFill>
                <a:latin typeface="Arial" panose="020B0604020202020204"/>
              </a:rPr>
              <a:t>Google</a:t>
            </a:r>
            <a:r>
              <a:rPr lang="en-US" sz="210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 maps API for geolocating resources, cars &amp; riders.</a:t>
            </a:r>
          </a:p>
          <a:p>
            <a:pPr defTabSz="685800">
              <a:lnSpc>
                <a:spcPct val="90000"/>
              </a:lnSpc>
              <a:spcBef>
                <a:spcPts val="225"/>
              </a:spcBef>
            </a:pPr>
            <a:endParaRPr lang="en-US" sz="2100">
              <a:solidFill>
                <a:prstClr val="white">
                  <a:lumMod val="50000"/>
                </a:prstClr>
              </a:solidFill>
              <a:latin typeface="Arial" panose="020B0604020202020204"/>
            </a:endParaRPr>
          </a:p>
          <a:p>
            <a:pPr defTabSz="685800">
              <a:lnSpc>
                <a:spcPct val="90000"/>
              </a:lnSpc>
              <a:spcBef>
                <a:spcPts val="225"/>
              </a:spcBef>
            </a:pPr>
            <a:r>
              <a:rPr lang="en-US" sz="210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It also uses </a:t>
            </a:r>
            <a:r>
              <a:rPr lang="en-US" sz="2100" b="1">
                <a:solidFill>
                  <a:srgbClr val="A100FF"/>
                </a:solidFill>
                <a:latin typeface="Arial" panose="020B0604020202020204"/>
              </a:rPr>
              <a:t>payment API’s</a:t>
            </a:r>
            <a:r>
              <a:rPr lang="en-US" sz="210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 from various service providers e.g. </a:t>
            </a:r>
            <a:r>
              <a:rPr lang="en-US" sz="2100" b="1">
                <a:solidFill>
                  <a:srgbClr val="A100FF"/>
                </a:solidFill>
                <a:latin typeface="Arial" panose="020B0604020202020204"/>
              </a:rPr>
              <a:t>Paytm 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6A34CDF-23DE-4692-B592-A94D1B63E884}"/>
              </a:ext>
            </a:extLst>
          </p:cNvPr>
          <p:cNvSpPr/>
          <p:nvPr/>
        </p:nvSpPr>
        <p:spPr>
          <a:xfrm>
            <a:off x="577796" y="2668280"/>
            <a:ext cx="446515" cy="23624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endParaRPr lang="en-US" sz="12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0B63615-40BB-4F19-BC0B-42DE807667E8}"/>
              </a:ext>
            </a:extLst>
          </p:cNvPr>
          <p:cNvSpPr/>
          <p:nvPr/>
        </p:nvSpPr>
        <p:spPr>
          <a:xfrm>
            <a:off x="3599710" y="1870549"/>
            <a:ext cx="719118" cy="23624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endParaRPr lang="en-US" sz="1200">
              <a:solidFill>
                <a:prstClr val="white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880953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9744A55-B3CE-488A-A291-9F4B6875A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17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4D274F-5EDB-43E3-968D-DE4558037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30D4FD-38E8-4628-8CCC-F04C2C06A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3DB19F-FFAC-4A81-8077-8157F5A6B02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hat is API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96CDC78-A48F-4EBD-BD45-FA8E5E54DF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300" y="788862"/>
            <a:ext cx="8386686" cy="290338"/>
          </a:xfrm>
        </p:spPr>
        <p:txBody>
          <a:bodyPr/>
          <a:lstStyle/>
          <a:p>
            <a:r>
              <a:rPr lang="en-US"/>
              <a:t>Types of API and Typical Usag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1687FFD-3195-4C4B-8BB2-17EC9E5B54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D013BE15-622B-4C35-9853-EC5E201BE5E3}"/>
              </a:ext>
            </a:extLst>
          </p:cNvPr>
          <p:cNvSpPr/>
          <p:nvPr/>
        </p:nvSpPr>
        <p:spPr>
          <a:xfrm>
            <a:off x="2655952" y="1164836"/>
            <a:ext cx="2046497" cy="580292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1200" b="1">
                <a:solidFill>
                  <a:prstClr val="white"/>
                </a:solidFill>
                <a:latin typeface="Arial" panose="020B0604020202020204"/>
              </a:rPr>
              <a:t>Private API</a:t>
            </a:r>
          </a:p>
          <a:p>
            <a:pPr algn="ctr" defTabSz="685800">
              <a:lnSpc>
                <a:spcPct val="90000"/>
              </a:lnSpc>
            </a:pPr>
            <a:r>
              <a:rPr lang="en-US" sz="1200" b="1">
                <a:solidFill>
                  <a:prstClr val="white"/>
                </a:solidFill>
                <a:latin typeface="Arial" panose="020B0604020202020204"/>
              </a:rPr>
              <a:t>(Integration)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698EAFA9-4CF1-4688-87C1-F049DBB56B9A}"/>
              </a:ext>
            </a:extLst>
          </p:cNvPr>
          <p:cNvSpPr/>
          <p:nvPr/>
        </p:nvSpPr>
        <p:spPr>
          <a:xfrm>
            <a:off x="4812265" y="1159562"/>
            <a:ext cx="2046497" cy="580292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1200" b="1">
                <a:solidFill>
                  <a:prstClr val="white"/>
                </a:solidFill>
                <a:latin typeface="Arial" panose="020B0604020202020204"/>
              </a:rPr>
              <a:t>Partner API</a:t>
            </a:r>
          </a:p>
          <a:p>
            <a:pPr algn="ctr" defTabSz="685800">
              <a:lnSpc>
                <a:spcPct val="90000"/>
              </a:lnSpc>
            </a:pPr>
            <a:r>
              <a:rPr lang="en-US" sz="1200" b="1">
                <a:solidFill>
                  <a:prstClr val="white"/>
                </a:solidFill>
                <a:latin typeface="Arial" panose="020B0604020202020204"/>
              </a:rPr>
              <a:t>(Collaboration)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AE7F105F-6971-4156-BB69-904D6DA1F60E}"/>
              </a:ext>
            </a:extLst>
          </p:cNvPr>
          <p:cNvSpPr/>
          <p:nvPr/>
        </p:nvSpPr>
        <p:spPr>
          <a:xfrm>
            <a:off x="6968577" y="1159563"/>
            <a:ext cx="2046497" cy="580292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1200" b="1">
                <a:solidFill>
                  <a:prstClr val="white"/>
                </a:solidFill>
                <a:latin typeface="Arial" panose="020B0604020202020204"/>
              </a:rPr>
              <a:t>Open API</a:t>
            </a:r>
          </a:p>
          <a:p>
            <a:pPr algn="ctr" defTabSz="685800">
              <a:lnSpc>
                <a:spcPct val="90000"/>
              </a:lnSpc>
            </a:pPr>
            <a:r>
              <a:rPr lang="en-US" sz="1200" b="1">
                <a:solidFill>
                  <a:prstClr val="white"/>
                </a:solidFill>
                <a:latin typeface="Arial" panose="020B0604020202020204"/>
              </a:rPr>
              <a:t>(Innovation)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235718-20F5-4B7A-8EEF-66121B3D53AD}"/>
              </a:ext>
            </a:extLst>
          </p:cNvPr>
          <p:cNvCxnSpPr>
            <a:cxnSpLocks/>
          </p:cNvCxnSpPr>
          <p:nvPr/>
        </p:nvCxnSpPr>
        <p:spPr>
          <a:xfrm flipV="1">
            <a:off x="2511578" y="1220230"/>
            <a:ext cx="0" cy="1426992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CDAE8A6-84F2-4CB7-8727-F9D15F153526}"/>
              </a:ext>
            </a:extLst>
          </p:cNvPr>
          <p:cNvCxnSpPr>
            <a:cxnSpLocks/>
          </p:cNvCxnSpPr>
          <p:nvPr/>
        </p:nvCxnSpPr>
        <p:spPr>
          <a:xfrm flipV="1">
            <a:off x="2511578" y="2832739"/>
            <a:ext cx="0" cy="1426992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2B6179EF-527B-4708-BD58-1724F0547F60}"/>
              </a:ext>
            </a:extLst>
          </p:cNvPr>
          <p:cNvSpPr/>
          <p:nvPr/>
        </p:nvSpPr>
        <p:spPr>
          <a:xfrm>
            <a:off x="2652436" y="1797164"/>
            <a:ext cx="19833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>
                <a:solidFill>
                  <a:prstClr val="black"/>
                </a:solidFill>
                <a:latin typeface="ArialMT"/>
              </a:rPr>
              <a:t>Used internally to facilitate the</a:t>
            </a:r>
          </a:p>
          <a:p>
            <a:pPr defTabSz="685800"/>
            <a:r>
              <a:rPr lang="en-US" sz="1050">
                <a:solidFill>
                  <a:prstClr val="black"/>
                </a:solidFill>
                <a:latin typeface="ArialMT"/>
              </a:rPr>
              <a:t>integration of different</a:t>
            </a:r>
          </a:p>
          <a:p>
            <a:pPr defTabSz="685800"/>
            <a:r>
              <a:rPr lang="en-US" sz="1050">
                <a:solidFill>
                  <a:prstClr val="black"/>
                </a:solidFill>
                <a:latin typeface="ArialMT"/>
              </a:rPr>
              <a:t>applications &amp; systems used by a company</a:t>
            </a:r>
            <a:endParaRPr lang="en-US" sz="10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D692956-3E5F-4B5A-8CCE-AD71F9E06C1B}"/>
              </a:ext>
            </a:extLst>
          </p:cNvPr>
          <p:cNvSpPr/>
          <p:nvPr/>
        </p:nvSpPr>
        <p:spPr>
          <a:xfrm>
            <a:off x="6968576" y="1797164"/>
            <a:ext cx="19833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>
                <a:solidFill>
                  <a:prstClr val="black"/>
                </a:solidFill>
                <a:latin typeface="ArialMT"/>
              </a:rPr>
              <a:t>Used to publicly expose</a:t>
            </a:r>
          </a:p>
          <a:p>
            <a:pPr defTabSz="685800"/>
            <a:r>
              <a:rPr lang="en-US" sz="1050">
                <a:solidFill>
                  <a:prstClr val="black"/>
                </a:solidFill>
                <a:latin typeface="ArialMT"/>
              </a:rPr>
              <a:t>Information to third parties who may not have a business relationship with the company</a:t>
            </a:r>
            <a:endParaRPr lang="en-US" sz="10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56DFF9A-8257-4575-9D1A-8F5D71F160E1}"/>
              </a:ext>
            </a:extLst>
          </p:cNvPr>
          <p:cNvSpPr/>
          <p:nvPr/>
        </p:nvSpPr>
        <p:spPr>
          <a:xfrm>
            <a:off x="4810506" y="1797164"/>
            <a:ext cx="205414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>
                <a:solidFill>
                  <a:prstClr val="black"/>
                </a:solidFill>
                <a:latin typeface="ArialMT"/>
              </a:rPr>
              <a:t>Used to facilitate communication</a:t>
            </a:r>
          </a:p>
          <a:p>
            <a:pPr defTabSz="685800"/>
            <a:r>
              <a:rPr lang="en-US" sz="1050">
                <a:solidFill>
                  <a:prstClr val="black"/>
                </a:solidFill>
                <a:latin typeface="ArialMT"/>
              </a:rPr>
              <a:t>&amp; integration of software between a company and its business and partners</a:t>
            </a:r>
          </a:p>
          <a:p>
            <a:pPr defTabSz="685800"/>
            <a:endParaRPr lang="en-US" sz="1050">
              <a:solidFill>
                <a:prstClr val="black"/>
              </a:solidFill>
              <a:latin typeface="Arial" panose="020B0604020202020204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1BDE71C-2AD7-43CD-8288-FB0BC92EA77B}"/>
              </a:ext>
            </a:extLst>
          </p:cNvPr>
          <p:cNvCxnSpPr>
            <a:cxnSpLocks/>
          </p:cNvCxnSpPr>
          <p:nvPr/>
        </p:nvCxnSpPr>
        <p:spPr>
          <a:xfrm flipV="1">
            <a:off x="4707549" y="1779255"/>
            <a:ext cx="0" cy="2528004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EE07EB95-379D-412D-BF03-54C3E21A87C3}"/>
              </a:ext>
            </a:extLst>
          </p:cNvPr>
          <p:cNvSpPr/>
          <p:nvPr/>
        </p:nvSpPr>
        <p:spPr>
          <a:xfrm>
            <a:off x="644977" y="2832739"/>
            <a:ext cx="171019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>
                <a:solidFill>
                  <a:srgbClr val="000000"/>
                </a:solidFill>
                <a:latin typeface="ArialMT"/>
              </a:rPr>
              <a:t>OFFER ACCESS TO A</a:t>
            </a:r>
          </a:p>
          <a:p>
            <a:pPr defTabSz="685800"/>
            <a:r>
              <a:rPr lang="en-US" sz="1050" b="1">
                <a:solidFill>
                  <a:srgbClr val="7500C0"/>
                </a:solidFill>
                <a:latin typeface="Arial-BoldMT"/>
              </a:rPr>
              <a:t>USER EXPERIENCE</a:t>
            </a:r>
            <a:endParaRPr lang="en-US" sz="1050">
              <a:solidFill>
                <a:srgbClr val="7500C0"/>
              </a:solidFill>
              <a:latin typeface="Arial" panose="020B0604020202020204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F1F6EF8-DC34-45D5-997A-FE92831285CD}"/>
              </a:ext>
            </a:extLst>
          </p:cNvPr>
          <p:cNvSpPr/>
          <p:nvPr/>
        </p:nvSpPr>
        <p:spPr>
          <a:xfrm>
            <a:off x="644977" y="3377086"/>
            <a:ext cx="193712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>
                <a:solidFill>
                  <a:srgbClr val="000000"/>
                </a:solidFill>
                <a:latin typeface="ArialMT"/>
              </a:rPr>
              <a:t>ENABLE DELIVERY OF A</a:t>
            </a:r>
          </a:p>
          <a:p>
            <a:pPr defTabSz="685800"/>
            <a:r>
              <a:rPr lang="en-US" sz="1050" b="1">
                <a:solidFill>
                  <a:srgbClr val="7500C0"/>
                </a:solidFill>
                <a:latin typeface="Arial-BoldMT"/>
              </a:rPr>
              <a:t>SERVICE OR PRODUCT</a:t>
            </a:r>
            <a:endParaRPr lang="en-US" sz="1050">
              <a:solidFill>
                <a:srgbClr val="7500C0"/>
              </a:solidFill>
              <a:latin typeface="Arial" panose="020B0604020202020204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D877D18-D1EF-46A7-9AE7-038F282ABCDD}"/>
              </a:ext>
            </a:extLst>
          </p:cNvPr>
          <p:cNvSpPr/>
          <p:nvPr/>
        </p:nvSpPr>
        <p:spPr>
          <a:xfrm>
            <a:off x="644977" y="3921432"/>
            <a:ext cx="165559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>
                <a:solidFill>
                  <a:srgbClr val="000000"/>
                </a:solidFill>
                <a:latin typeface="ArialMT"/>
              </a:rPr>
              <a:t>OFFER ACCESS TO </a:t>
            </a:r>
            <a:r>
              <a:rPr lang="en-US" sz="1050" b="1">
                <a:solidFill>
                  <a:srgbClr val="7500C0"/>
                </a:solidFill>
                <a:latin typeface="Arial-BoldMT"/>
              </a:rPr>
              <a:t>DATA</a:t>
            </a:r>
            <a:endParaRPr lang="en-US" sz="1050">
              <a:solidFill>
                <a:srgbClr val="7500C0"/>
              </a:solidFill>
              <a:latin typeface="Arial" panose="020B0604020202020204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E6624ED-0196-4149-BB28-D06E9C1819A3}"/>
              </a:ext>
            </a:extLst>
          </p:cNvPr>
          <p:cNvCxnSpPr>
            <a:cxnSpLocks/>
          </p:cNvCxnSpPr>
          <p:nvPr/>
        </p:nvCxnSpPr>
        <p:spPr>
          <a:xfrm flipV="1">
            <a:off x="6858761" y="1779255"/>
            <a:ext cx="0" cy="2528004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364F167-6C31-4A48-969B-88F74708E2A9}"/>
              </a:ext>
            </a:extLst>
          </p:cNvPr>
          <p:cNvCxnSpPr>
            <a:cxnSpLocks/>
          </p:cNvCxnSpPr>
          <p:nvPr/>
        </p:nvCxnSpPr>
        <p:spPr>
          <a:xfrm>
            <a:off x="2615327" y="3252078"/>
            <a:ext cx="637794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F1E340C-D449-4736-AA84-A48F5C15E98D}"/>
              </a:ext>
            </a:extLst>
          </p:cNvPr>
          <p:cNvCxnSpPr>
            <a:cxnSpLocks/>
          </p:cNvCxnSpPr>
          <p:nvPr/>
        </p:nvCxnSpPr>
        <p:spPr>
          <a:xfrm>
            <a:off x="2615327" y="3827922"/>
            <a:ext cx="637794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04DCBD9D-9A1A-4264-8D5A-AB7C0D6F177C}"/>
              </a:ext>
            </a:extLst>
          </p:cNvPr>
          <p:cNvSpPr/>
          <p:nvPr/>
        </p:nvSpPr>
        <p:spPr>
          <a:xfrm>
            <a:off x="1263513" y="1241624"/>
            <a:ext cx="457200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685800"/>
            <a:r>
              <a:rPr lang="en-US" sz="1350" b="1">
                <a:solidFill>
                  <a:srgbClr val="7500C0"/>
                </a:solidFill>
                <a:latin typeface="ArialMT"/>
              </a:rPr>
              <a:t>DEGREE OF</a:t>
            </a:r>
          </a:p>
          <a:p>
            <a:pPr defTabSz="685800"/>
            <a:r>
              <a:rPr lang="en-US" sz="1350" b="1">
                <a:solidFill>
                  <a:srgbClr val="7500C0"/>
                </a:solidFill>
                <a:latin typeface="ArialMT"/>
              </a:rPr>
              <a:t>OPENNESS</a:t>
            </a:r>
            <a:endParaRPr lang="en-US" sz="1350" b="1">
              <a:solidFill>
                <a:srgbClr val="7500C0"/>
              </a:solidFill>
              <a:latin typeface="Arial" panose="020B0604020202020204"/>
            </a:endParaRPr>
          </a:p>
        </p:txBody>
      </p:sp>
      <p:sp>
        <p:nvSpPr>
          <p:cNvPr id="25" name="Flowchart: Connector 24">
            <a:extLst>
              <a:ext uri="{FF2B5EF4-FFF2-40B4-BE49-F238E27FC236}">
                <a16:creationId xmlns:a16="http://schemas.microsoft.com/office/drawing/2014/main" id="{ED4E0C49-153B-48AA-9409-E1AF56868279}"/>
              </a:ext>
            </a:extLst>
          </p:cNvPr>
          <p:cNvSpPr/>
          <p:nvPr/>
        </p:nvSpPr>
        <p:spPr>
          <a:xfrm>
            <a:off x="253631" y="2847689"/>
            <a:ext cx="352395" cy="350033"/>
          </a:xfrm>
          <a:prstGeom prst="flowChartConnector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endParaRPr lang="en-US" sz="12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6" name="Flowchart: Connector 25">
            <a:extLst>
              <a:ext uri="{FF2B5EF4-FFF2-40B4-BE49-F238E27FC236}">
                <a16:creationId xmlns:a16="http://schemas.microsoft.com/office/drawing/2014/main" id="{8E8275F2-B97E-4A2B-8A67-B545ACA2F0A0}"/>
              </a:ext>
            </a:extLst>
          </p:cNvPr>
          <p:cNvSpPr/>
          <p:nvPr/>
        </p:nvSpPr>
        <p:spPr>
          <a:xfrm>
            <a:off x="253631" y="3379156"/>
            <a:ext cx="352395" cy="350033"/>
          </a:xfrm>
          <a:prstGeom prst="flowChartConnector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endParaRPr lang="en-US" sz="12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7" name="Flowchart: Connector 26">
            <a:extLst>
              <a:ext uri="{FF2B5EF4-FFF2-40B4-BE49-F238E27FC236}">
                <a16:creationId xmlns:a16="http://schemas.microsoft.com/office/drawing/2014/main" id="{47286A95-BDA0-4BD8-85D8-DF53FD86FB20}"/>
              </a:ext>
            </a:extLst>
          </p:cNvPr>
          <p:cNvSpPr/>
          <p:nvPr/>
        </p:nvSpPr>
        <p:spPr>
          <a:xfrm>
            <a:off x="253631" y="3909698"/>
            <a:ext cx="352395" cy="350033"/>
          </a:xfrm>
          <a:prstGeom prst="flowChartConnector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endParaRPr lang="en-US" sz="12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FDAC7F6-1BDE-4D3C-B381-14104350877B}"/>
              </a:ext>
            </a:extLst>
          </p:cNvPr>
          <p:cNvSpPr txBox="1"/>
          <p:nvPr/>
        </p:nvSpPr>
        <p:spPr>
          <a:xfrm>
            <a:off x="271193" y="2939382"/>
            <a:ext cx="31321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225"/>
              </a:spcBef>
            </a:pPr>
            <a:r>
              <a:rPr lang="en-US" sz="1500" b="1">
                <a:solidFill>
                  <a:srgbClr val="460073"/>
                </a:solidFill>
                <a:latin typeface="Arial" panose="020B0604020202020204"/>
              </a:rPr>
              <a:t>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AF03D-D05B-4368-BF89-CE4AE99CE419}"/>
              </a:ext>
            </a:extLst>
          </p:cNvPr>
          <p:cNvSpPr txBox="1"/>
          <p:nvPr/>
        </p:nvSpPr>
        <p:spPr>
          <a:xfrm>
            <a:off x="279983" y="3460525"/>
            <a:ext cx="31321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225"/>
              </a:spcBef>
            </a:pPr>
            <a:r>
              <a:rPr lang="en-US" sz="1500" b="1">
                <a:solidFill>
                  <a:srgbClr val="460073"/>
                </a:solidFill>
                <a:latin typeface="Arial" panose="020B0604020202020204"/>
              </a:rPr>
              <a:t>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5F16535-841F-4C4C-91AD-078C0BE384EF}"/>
              </a:ext>
            </a:extLst>
          </p:cNvPr>
          <p:cNvSpPr txBox="1"/>
          <p:nvPr/>
        </p:nvSpPr>
        <p:spPr>
          <a:xfrm>
            <a:off x="279983" y="4001365"/>
            <a:ext cx="31321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225"/>
              </a:spcBef>
            </a:pPr>
            <a:r>
              <a:rPr lang="en-US" sz="1500" b="1">
                <a:solidFill>
                  <a:srgbClr val="460073"/>
                </a:solidFill>
                <a:latin typeface="Arial" panose="020B0604020202020204"/>
              </a:rPr>
              <a:t>3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5E7F3D9-8A94-4AD3-80CD-5093E1B2E559}"/>
              </a:ext>
            </a:extLst>
          </p:cNvPr>
          <p:cNvGrpSpPr/>
          <p:nvPr/>
        </p:nvGrpSpPr>
        <p:grpSpPr>
          <a:xfrm>
            <a:off x="4899669" y="1341411"/>
            <a:ext cx="296009" cy="252909"/>
            <a:chOff x="2697163" y="4495801"/>
            <a:chExt cx="577850" cy="493712"/>
          </a:xfrm>
          <a:solidFill>
            <a:schemeClr val="bg1"/>
          </a:solidFill>
        </p:grpSpPr>
        <p:sp>
          <p:nvSpPr>
            <p:cNvPr id="32" name="Freeform 194">
              <a:extLst>
                <a:ext uri="{FF2B5EF4-FFF2-40B4-BE49-F238E27FC236}">
                  <a16:creationId xmlns:a16="http://schemas.microsoft.com/office/drawing/2014/main" id="{3F5084D0-0A9D-4E2D-9A79-A4FDE33DB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1" y="4611688"/>
              <a:ext cx="157163" cy="244475"/>
            </a:xfrm>
            <a:custGeom>
              <a:avLst/>
              <a:gdLst>
                <a:gd name="T0" fmla="*/ 11 w 436"/>
                <a:gd name="T1" fmla="*/ 18 h 679"/>
                <a:gd name="T2" fmla="*/ 110 w 436"/>
                <a:gd name="T3" fmla="*/ 0 h 679"/>
                <a:gd name="T4" fmla="*/ 436 w 436"/>
                <a:gd name="T5" fmla="*/ 184 h 679"/>
                <a:gd name="T6" fmla="*/ 436 w 436"/>
                <a:gd name="T7" fmla="*/ 491 h 679"/>
                <a:gd name="T8" fmla="*/ 327 w 436"/>
                <a:gd name="T9" fmla="*/ 679 h 679"/>
                <a:gd name="T10" fmla="*/ 243 w 436"/>
                <a:gd name="T11" fmla="*/ 546 h 679"/>
                <a:gd name="T12" fmla="*/ 380 w 436"/>
                <a:gd name="T13" fmla="*/ 320 h 679"/>
                <a:gd name="T14" fmla="*/ 0 w 436"/>
                <a:gd name="T15" fmla="*/ 106 h 679"/>
                <a:gd name="T16" fmla="*/ 11 w 436"/>
                <a:gd name="T17" fmla="*/ 18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6" h="679">
                  <a:moveTo>
                    <a:pt x="11" y="18"/>
                  </a:moveTo>
                  <a:lnTo>
                    <a:pt x="110" y="0"/>
                  </a:lnTo>
                  <a:lnTo>
                    <a:pt x="436" y="184"/>
                  </a:lnTo>
                  <a:lnTo>
                    <a:pt x="436" y="491"/>
                  </a:lnTo>
                  <a:lnTo>
                    <a:pt x="327" y="679"/>
                  </a:lnTo>
                  <a:lnTo>
                    <a:pt x="243" y="546"/>
                  </a:lnTo>
                  <a:lnTo>
                    <a:pt x="380" y="320"/>
                  </a:lnTo>
                  <a:lnTo>
                    <a:pt x="0" y="106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3" name="Freeform 195">
              <a:extLst>
                <a:ext uri="{FF2B5EF4-FFF2-40B4-BE49-F238E27FC236}">
                  <a16:creationId xmlns:a16="http://schemas.microsoft.com/office/drawing/2014/main" id="{D7802D8B-1662-4064-955C-93B213464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7163" y="4716463"/>
              <a:ext cx="577850" cy="273050"/>
            </a:xfrm>
            <a:custGeom>
              <a:avLst/>
              <a:gdLst>
                <a:gd name="T0" fmla="*/ 924 w 1603"/>
                <a:gd name="T1" fmla="*/ 687 h 757"/>
                <a:gd name="T2" fmla="*/ 800 w 1603"/>
                <a:gd name="T3" fmla="*/ 610 h 757"/>
                <a:gd name="T4" fmla="*/ 982 w 1603"/>
                <a:gd name="T5" fmla="*/ 302 h 757"/>
                <a:gd name="T6" fmla="*/ 1106 w 1603"/>
                <a:gd name="T7" fmla="*/ 378 h 757"/>
                <a:gd name="T8" fmla="*/ 924 w 1603"/>
                <a:gd name="T9" fmla="*/ 687 h 757"/>
                <a:gd name="T10" fmla="*/ 673 w 1603"/>
                <a:gd name="T11" fmla="*/ 538 h 757"/>
                <a:gd name="T12" fmla="*/ 551 w 1603"/>
                <a:gd name="T13" fmla="*/ 465 h 757"/>
                <a:gd name="T14" fmla="*/ 734 w 1603"/>
                <a:gd name="T15" fmla="*/ 156 h 757"/>
                <a:gd name="T16" fmla="*/ 854 w 1603"/>
                <a:gd name="T17" fmla="*/ 228 h 757"/>
                <a:gd name="T18" fmla="*/ 673 w 1603"/>
                <a:gd name="T19" fmla="*/ 538 h 757"/>
                <a:gd name="T20" fmla="*/ 426 w 1603"/>
                <a:gd name="T21" fmla="*/ 391 h 757"/>
                <a:gd name="T22" fmla="*/ 297 w 1603"/>
                <a:gd name="T23" fmla="*/ 318 h 757"/>
                <a:gd name="T24" fmla="*/ 412 w 1603"/>
                <a:gd name="T25" fmla="*/ 131 h 757"/>
                <a:gd name="T26" fmla="*/ 537 w 1603"/>
                <a:gd name="T27" fmla="*/ 203 h 757"/>
                <a:gd name="T28" fmla="*/ 426 w 1603"/>
                <a:gd name="T29" fmla="*/ 391 h 757"/>
                <a:gd name="T30" fmla="*/ 1254 w 1603"/>
                <a:gd name="T31" fmla="*/ 328 h 757"/>
                <a:gd name="T32" fmla="*/ 1243 w 1603"/>
                <a:gd name="T33" fmla="*/ 291 h 757"/>
                <a:gd name="T34" fmla="*/ 1067 w 1603"/>
                <a:gd name="T35" fmla="*/ 196 h 757"/>
                <a:gd name="T36" fmla="*/ 924 w 1603"/>
                <a:gd name="T37" fmla="*/ 228 h 757"/>
                <a:gd name="T38" fmla="*/ 924 w 1603"/>
                <a:gd name="T39" fmla="*/ 105 h 757"/>
                <a:gd name="T40" fmla="*/ 740 w 1603"/>
                <a:gd name="T41" fmla="*/ 0 h 757"/>
                <a:gd name="T42" fmla="*/ 636 w 1603"/>
                <a:gd name="T43" fmla="*/ 21 h 757"/>
                <a:gd name="T44" fmla="*/ 608 w 1603"/>
                <a:gd name="T45" fmla="*/ 74 h 757"/>
                <a:gd name="T46" fmla="*/ 536 w 1603"/>
                <a:gd name="T47" fmla="*/ 40 h 757"/>
                <a:gd name="T48" fmla="*/ 294 w 1603"/>
                <a:gd name="T49" fmla="*/ 40 h 757"/>
                <a:gd name="T50" fmla="*/ 129 w 1603"/>
                <a:gd name="T51" fmla="*/ 324 h 757"/>
                <a:gd name="T52" fmla="*/ 0 w 1603"/>
                <a:gd name="T53" fmla="*/ 323 h 757"/>
                <a:gd name="T54" fmla="*/ 0 w 1603"/>
                <a:gd name="T55" fmla="*/ 478 h 757"/>
                <a:gd name="T56" fmla="*/ 287 w 1603"/>
                <a:gd name="T57" fmla="*/ 479 h 757"/>
                <a:gd name="T58" fmla="*/ 756 w 1603"/>
                <a:gd name="T59" fmla="*/ 757 h 757"/>
                <a:gd name="T60" fmla="*/ 1045 w 1603"/>
                <a:gd name="T61" fmla="*/ 757 h 757"/>
                <a:gd name="T62" fmla="*/ 1206 w 1603"/>
                <a:gd name="T63" fmla="*/ 481 h 757"/>
                <a:gd name="T64" fmla="*/ 1603 w 1603"/>
                <a:gd name="T65" fmla="*/ 481 h 757"/>
                <a:gd name="T66" fmla="*/ 1603 w 1603"/>
                <a:gd name="T67" fmla="*/ 327 h 757"/>
                <a:gd name="T68" fmla="*/ 1254 w 1603"/>
                <a:gd name="T69" fmla="*/ 328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03" h="757">
                  <a:moveTo>
                    <a:pt x="924" y="687"/>
                  </a:moveTo>
                  <a:lnTo>
                    <a:pt x="800" y="610"/>
                  </a:lnTo>
                  <a:lnTo>
                    <a:pt x="982" y="302"/>
                  </a:lnTo>
                  <a:lnTo>
                    <a:pt x="1106" y="378"/>
                  </a:lnTo>
                  <a:lnTo>
                    <a:pt x="924" y="687"/>
                  </a:lnTo>
                  <a:close/>
                  <a:moveTo>
                    <a:pt x="673" y="538"/>
                  </a:moveTo>
                  <a:lnTo>
                    <a:pt x="551" y="465"/>
                  </a:lnTo>
                  <a:lnTo>
                    <a:pt x="734" y="156"/>
                  </a:lnTo>
                  <a:lnTo>
                    <a:pt x="854" y="228"/>
                  </a:lnTo>
                  <a:lnTo>
                    <a:pt x="673" y="538"/>
                  </a:lnTo>
                  <a:close/>
                  <a:moveTo>
                    <a:pt x="426" y="391"/>
                  </a:moveTo>
                  <a:lnTo>
                    <a:pt x="297" y="318"/>
                  </a:lnTo>
                  <a:lnTo>
                    <a:pt x="412" y="131"/>
                  </a:lnTo>
                  <a:lnTo>
                    <a:pt x="537" y="203"/>
                  </a:lnTo>
                  <a:lnTo>
                    <a:pt x="426" y="391"/>
                  </a:lnTo>
                  <a:close/>
                  <a:moveTo>
                    <a:pt x="1254" y="328"/>
                  </a:moveTo>
                  <a:lnTo>
                    <a:pt x="1243" y="291"/>
                  </a:lnTo>
                  <a:lnTo>
                    <a:pt x="1067" y="196"/>
                  </a:lnTo>
                  <a:lnTo>
                    <a:pt x="924" y="228"/>
                  </a:lnTo>
                  <a:lnTo>
                    <a:pt x="924" y="105"/>
                  </a:lnTo>
                  <a:lnTo>
                    <a:pt x="740" y="0"/>
                  </a:lnTo>
                  <a:lnTo>
                    <a:pt x="636" y="21"/>
                  </a:lnTo>
                  <a:lnTo>
                    <a:pt x="608" y="74"/>
                  </a:lnTo>
                  <a:lnTo>
                    <a:pt x="536" y="40"/>
                  </a:lnTo>
                  <a:lnTo>
                    <a:pt x="294" y="40"/>
                  </a:lnTo>
                  <a:lnTo>
                    <a:pt x="129" y="324"/>
                  </a:lnTo>
                  <a:lnTo>
                    <a:pt x="0" y="323"/>
                  </a:lnTo>
                  <a:lnTo>
                    <a:pt x="0" y="478"/>
                  </a:lnTo>
                  <a:lnTo>
                    <a:pt x="287" y="479"/>
                  </a:lnTo>
                  <a:lnTo>
                    <a:pt x="756" y="757"/>
                  </a:lnTo>
                  <a:lnTo>
                    <a:pt x="1045" y="757"/>
                  </a:lnTo>
                  <a:lnTo>
                    <a:pt x="1206" y="481"/>
                  </a:lnTo>
                  <a:lnTo>
                    <a:pt x="1603" y="481"/>
                  </a:lnTo>
                  <a:lnTo>
                    <a:pt x="1603" y="327"/>
                  </a:lnTo>
                  <a:lnTo>
                    <a:pt x="1254" y="3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4" name="Freeform 196">
              <a:extLst>
                <a:ext uri="{FF2B5EF4-FFF2-40B4-BE49-F238E27FC236}">
                  <a16:creationId xmlns:a16="http://schemas.microsoft.com/office/drawing/2014/main" id="{EBC389A9-0E3F-4994-A173-B14644996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4495801"/>
              <a:ext cx="577850" cy="203200"/>
            </a:xfrm>
            <a:custGeom>
              <a:avLst/>
              <a:gdLst>
                <a:gd name="T0" fmla="*/ 1471 w 1603"/>
                <a:gd name="T1" fmla="*/ 285 h 566"/>
                <a:gd name="T2" fmla="*/ 1152 w 1603"/>
                <a:gd name="T3" fmla="*/ 67 h 566"/>
                <a:gd name="T4" fmla="*/ 929 w 1603"/>
                <a:gd name="T5" fmla="*/ 0 h 566"/>
                <a:gd name="T6" fmla="*/ 711 w 1603"/>
                <a:gd name="T7" fmla="*/ 0 h 566"/>
                <a:gd name="T8" fmla="*/ 677 w 1603"/>
                <a:gd name="T9" fmla="*/ 0 h 566"/>
                <a:gd name="T10" fmla="*/ 536 w 1603"/>
                <a:gd name="T11" fmla="*/ 0 h 566"/>
                <a:gd name="T12" fmla="*/ 340 w 1603"/>
                <a:gd name="T13" fmla="*/ 69 h 566"/>
                <a:gd name="T14" fmla="*/ 121 w 1603"/>
                <a:gd name="T15" fmla="*/ 285 h 566"/>
                <a:gd name="T16" fmla="*/ 0 w 1603"/>
                <a:gd name="T17" fmla="*/ 284 h 566"/>
                <a:gd name="T18" fmla="*/ 0 w 1603"/>
                <a:gd name="T19" fmla="*/ 444 h 566"/>
                <a:gd name="T20" fmla="*/ 77 w 1603"/>
                <a:gd name="T21" fmla="*/ 444 h 566"/>
                <a:gd name="T22" fmla="*/ 239 w 1603"/>
                <a:gd name="T23" fmla="*/ 379 h 566"/>
                <a:gd name="T24" fmla="*/ 474 w 1603"/>
                <a:gd name="T25" fmla="*/ 146 h 566"/>
                <a:gd name="T26" fmla="*/ 618 w 1603"/>
                <a:gd name="T27" fmla="*/ 146 h 566"/>
                <a:gd name="T28" fmla="*/ 562 w 1603"/>
                <a:gd name="T29" fmla="*/ 249 h 566"/>
                <a:gd name="T30" fmla="*/ 561 w 1603"/>
                <a:gd name="T31" fmla="*/ 470 h 566"/>
                <a:gd name="T32" fmla="*/ 742 w 1603"/>
                <a:gd name="T33" fmla="*/ 566 h 566"/>
                <a:gd name="T34" fmla="*/ 917 w 1603"/>
                <a:gd name="T35" fmla="*/ 508 h 566"/>
                <a:gd name="T36" fmla="*/ 1023 w 1603"/>
                <a:gd name="T37" fmla="*/ 329 h 566"/>
                <a:gd name="T38" fmla="*/ 831 w 1603"/>
                <a:gd name="T39" fmla="*/ 361 h 566"/>
                <a:gd name="T40" fmla="*/ 800 w 1603"/>
                <a:gd name="T41" fmla="*/ 427 h 566"/>
                <a:gd name="T42" fmla="*/ 668 w 1603"/>
                <a:gd name="T43" fmla="*/ 360 h 566"/>
                <a:gd name="T44" fmla="*/ 789 w 1603"/>
                <a:gd name="T45" fmla="*/ 142 h 566"/>
                <a:gd name="T46" fmla="*/ 997 w 1603"/>
                <a:gd name="T47" fmla="*/ 142 h 566"/>
                <a:gd name="T48" fmla="*/ 1408 w 1603"/>
                <a:gd name="T49" fmla="*/ 421 h 566"/>
                <a:gd name="T50" fmla="*/ 1456 w 1603"/>
                <a:gd name="T51" fmla="*/ 444 h 566"/>
                <a:gd name="T52" fmla="*/ 1602 w 1603"/>
                <a:gd name="T53" fmla="*/ 446 h 566"/>
                <a:gd name="T54" fmla="*/ 1603 w 1603"/>
                <a:gd name="T55" fmla="*/ 284 h 566"/>
                <a:gd name="T56" fmla="*/ 1471 w 1603"/>
                <a:gd name="T57" fmla="*/ 285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3" h="566">
                  <a:moveTo>
                    <a:pt x="1471" y="285"/>
                  </a:moveTo>
                  <a:lnTo>
                    <a:pt x="1152" y="67"/>
                  </a:lnTo>
                  <a:lnTo>
                    <a:pt x="929" y="0"/>
                  </a:lnTo>
                  <a:lnTo>
                    <a:pt x="711" y="0"/>
                  </a:lnTo>
                  <a:lnTo>
                    <a:pt x="677" y="0"/>
                  </a:lnTo>
                  <a:lnTo>
                    <a:pt x="536" y="0"/>
                  </a:lnTo>
                  <a:lnTo>
                    <a:pt x="340" y="69"/>
                  </a:lnTo>
                  <a:lnTo>
                    <a:pt x="121" y="285"/>
                  </a:lnTo>
                  <a:lnTo>
                    <a:pt x="0" y="284"/>
                  </a:lnTo>
                  <a:lnTo>
                    <a:pt x="0" y="444"/>
                  </a:lnTo>
                  <a:lnTo>
                    <a:pt x="77" y="444"/>
                  </a:lnTo>
                  <a:lnTo>
                    <a:pt x="239" y="379"/>
                  </a:lnTo>
                  <a:lnTo>
                    <a:pt x="474" y="146"/>
                  </a:lnTo>
                  <a:lnTo>
                    <a:pt x="618" y="146"/>
                  </a:lnTo>
                  <a:lnTo>
                    <a:pt x="562" y="249"/>
                  </a:lnTo>
                  <a:lnTo>
                    <a:pt x="561" y="470"/>
                  </a:lnTo>
                  <a:lnTo>
                    <a:pt x="742" y="566"/>
                  </a:lnTo>
                  <a:lnTo>
                    <a:pt x="917" y="508"/>
                  </a:lnTo>
                  <a:lnTo>
                    <a:pt x="1023" y="329"/>
                  </a:lnTo>
                  <a:lnTo>
                    <a:pt x="831" y="361"/>
                  </a:lnTo>
                  <a:lnTo>
                    <a:pt x="800" y="427"/>
                  </a:lnTo>
                  <a:lnTo>
                    <a:pt x="668" y="360"/>
                  </a:lnTo>
                  <a:lnTo>
                    <a:pt x="789" y="142"/>
                  </a:lnTo>
                  <a:lnTo>
                    <a:pt x="997" y="142"/>
                  </a:lnTo>
                  <a:lnTo>
                    <a:pt x="1408" y="421"/>
                  </a:lnTo>
                  <a:lnTo>
                    <a:pt x="1456" y="444"/>
                  </a:lnTo>
                  <a:lnTo>
                    <a:pt x="1602" y="446"/>
                  </a:lnTo>
                  <a:lnTo>
                    <a:pt x="1603" y="284"/>
                  </a:lnTo>
                  <a:lnTo>
                    <a:pt x="1471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Arial" panose="020B0604020202020204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DDAAE34-41CD-4581-88B5-A5311565450F}"/>
              </a:ext>
            </a:extLst>
          </p:cNvPr>
          <p:cNvGrpSpPr/>
          <p:nvPr/>
        </p:nvGrpSpPr>
        <p:grpSpPr>
          <a:xfrm>
            <a:off x="7082307" y="1294774"/>
            <a:ext cx="325610" cy="301459"/>
            <a:chOff x="3460751" y="4475163"/>
            <a:chExt cx="577850" cy="534988"/>
          </a:xfrm>
          <a:solidFill>
            <a:schemeClr val="bg1"/>
          </a:solidFill>
        </p:grpSpPr>
        <p:sp>
          <p:nvSpPr>
            <p:cNvPr id="36" name="Freeform 197">
              <a:extLst>
                <a:ext uri="{FF2B5EF4-FFF2-40B4-BE49-F238E27FC236}">
                  <a16:creationId xmlns:a16="http://schemas.microsoft.com/office/drawing/2014/main" id="{20AD0287-61B7-4A9C-9931-45D8C2906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9826" y="4475163"/>
              <a:ext cx="336550" cy="285750"/>
            </a:xfrm>
            <a:custGeom>
              <a:avLst/>
              <a:gdLst>
                <a:gd name="T0" fmla="*/ 670 w 933"/>
                <a:gd name="T1" fmla="*/ 327 h 794"/>
                <a:gd name="T2" fmla="*/ 516 w 933"/>
                <a:gd name="T3" fmla="*/ 411 h 794"/>
                <a:gd name="T4" fmla="*/ 565 w 933"/>
                <a:gd name="T5" fmla="*/ 236 h 794"/>
                <a:gd name="T6" fmla="*/ 721 w 933"/>
                <a:gd name="T7" fmla="*/ 148 h 794"/>
                <a:gd name="T8" fmla="*/ 670 w 933"/>
                <a:gd name="T9" fmla="*/ 327 h 794"/>
                <a:gd name="T10" fmla="*/ 216 w 933"/>
                <a:gd name="T11" fmla="*/ 451 h 794"/>
                <a:gd name="T12" fmla="*/ 157 w 933"/>
                <a:gd name="T13" fmla="*/ 380 h 794"/>
                <a:gd name="T14" fmla="*/ 259 w 933"/>
                <a:gd name="T15" fmla="*/ 404 h 794"/>
                <a:gd name="T16" fmla="*/ 320 w 933"/>
                <a:gd name="T17" fmla="*/ 471 h 794"/>
                <a:gd name="T18" fmla="*/ 216 w 933"/>
                <a:gd name="T19" fmla="*/ 451 h 794"/>
                <a:gd name="T20" fmla="*/ 848 w 933"/>
                <a:gd name="T21" fmla="*/ 56 h 794"/>
                <a:gd name="T22" fmla="*/ 781 w 933"/>
                <a:gd name="T23" fmla="*/ 6 h 794"/>
                <a:gd name="T24" fmla="*/ 679 w 933"/>
                <a:gd name="T25" fmla="*/ 6 h 794"/>
                <a:gd name="T26" fmla="*/ 483 w 933"/>
                <a:gd name="T27" fmla="*/ 107 h 794"/>
                <a:gd name="T28" fmla="*/ 370 w 933"/>
                <a:gd name="T29" fmla="*/ 309 h 794"/>
                <a:gd name="T30" fmla="*/ 277 w 933"/>
                <a:gd name="T31" fmla="*/ 252 h 794"/>
                <a:gd name="T32" fmla="*/ 37 w 933"/>
                <a:gd name="T33" fmla="*/ 270 h 794"/>
                <a:gd name="T34" fmla="*/ 0 w 933"/>
                <a:gd name="T35" fmla="*/ 341 h 794"/>
                <a:gd name="T36" fmla="*/ 142 w 933"/>
                <a:gd name="T37" fmla="*/ 575 h 794"/>
                <a:gd name="T38" fmla="*/ 385 w 933"/>
                <a:gd name="T39" fmla="*/ 604 h 794"/>
                <a:gd name="T40" fmla="*/ 388 w 933"/>
                <a:gd name="T41" fmla="*/ 793 h 794"/>
                <a:gd name="T42" fmla="*/ 544 w 933"/>
                <a:gd name="T43" fmla="*/ 794 h 794"/>
                <a:gd name="T44" fmla="*/ 544 w 933"/>
                <a:gd name="T45" fmla="*/ 553 h 794"/>
                <a:gd name="T46" fmla="*/ 785 w 933"/>
                <a:gd name="T47" fmla="*/ 419 h 794"/>
                <a:gd name="T48" fmla="*/ 848 w 933"/>
                <a:gd name="T49" fmla="*/ 56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33" h="794">
                  <a:moveTo>
                    <a:pt x="670" y="327"/>
                  </a:moveTo>
                  <a:cubicBezTo>
                    <a:pt x="581" y="411"/>
                    <a:pt x="516" y="411"/>
                    <a:pt x="516" y="411"/>
                  </a:cubicBezTo>
                  <a:cubicBezTo>
                    <a:pt x="516" y="411"/>
                    <a:pt x="506" y="311"/>
                    <a:pt x="565" y="236"/>
                  </a:cubicBezTo>
                  <a:cubicBezTo>
                    <a:pt x="623" y="161"/>
                    <a:pt x="721" y="148"/>
                    <a:pt x="721" y="148"/>
                  </a:cubicBezTo>
                  <a:cubicBezTo>
                    <a:pt x="721" y="148"/>
                    <a:pt x="733" y="268"/>
                    <a:pt x="670" y="327"/>
                  </a:cubicBezTo>
                  <a:close/>
                  <a:moveTo>
                    <a:pt x="216" y="451"/>
                  </a:moveTo>
                  <a:cubicBezTo>
                    <a:pt x="164" y="415"/>
                    <a:pt x="157" y="380"/>
                    <a:pt x="157" y="380"/>
                  </a:cubicBezTo>
                  <a:cubicBezTo>
                    <a:pt x="157" y="380"/>
                    <a:pt x="210" y="372"/>
                    <a:pt x="259" y="404"/>
                  </a:cubicBezTo>
                  <a:cubicBezTo>
                    <a:pt x="307" y="436"/>
                    <a:pt x="320" y="471"/>
                    <a:pt x="320" y="471"/>
                  </a:cubicBezTo>
                  <a:cubicBezTo>
                    <a:pt x="320" y="471"/>
                    <a:pt x="267" y="488"/>
                    <a:pt x="216" y="451"/>
                  </a:cubicBezTo>
                  <a:close/>
                  <a:moveTo>
                    <a:pt x="848" y="56"/>
                  </a:moveTo>
                  <a:lnTo>
                    <a:pt x="781" y="6"/>
                  </a:lnTo>
                  <a:cubicBezTo>
                    <a:pt x="781" y="6"/>
                    <a:pt x="715" y="0"/>
                    <a:pt x="679" y="6"/>
                  </a:cubicBezTo>
                  <a:cubicBezTo>
                    <a:pt x="644" y="12"/>
                    <a:pt x="569" y="26"/>
                    <a:pt x="483" y="107"/>
                  </a:cubicBezTo>
                  <a:cubicBezTo>
                    <a:pt x="397" y="189"/>
                    <a:pt x="370" y="309"/>
                    <a:pt x="370" y="309"/>
                  </a:cubicBezTo>
                  <a:cubicBezTo>
                    <a:pt x="344" y="286"/>
                    <a:pt x="312" y="265"/>
                    <a:pt x="277" y="252"/>
                  </a:cubicBezTo>
                  <a:cubicBezTo>
                    <a:pt x="165" y="212"/>
                    <a:pt x="37" y="270"/>
                    <a:pt x="37" y="270"/>
                  </a:cubicBezTo>
                  <a:lnTo>
                    <a:pt x="0" y="341"/>
                  </a:lnTo>
                  <a:cubicBezTo>
                    <a:pt x="0" y="341"/>
                    <a:pt x="23" y="491"/>
                    <a:pt x="142" y="575"/>
                  </a:cubicBezTo>
                  <a:cubicBezTo>
                    <a:pt x="260" y="659"/>
                    <a:pt x="385" y="604"/>
                    <a:pt x="385" y="604"/>
                  </a:cubicBezTo>
                  <a:lnTo>
                    <a:pt x="388" y="793"/>
                  </a:lnTo>
                  <a:lnTo>
                    <a:pt x="544" y="794"/>
                  </a:lnTo>
                  <a:lnTo>
                    <a:pt x="544" y="553"/>
                  </a:lnTo>
                  <a:cubicBezTo>
                    <a:pt x="616" y="540"/>
                    <a:pt x="709" y="506"/>
                    <a:pt x="785" y="419"/>
                  </a:cubicBezTo>
                  <a:cubicBezTo>
                    <a:pt x="933" y="251"/>
                    <a:pt x="848" y="56"/>
                    <a:pt x="848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7" name="Freeform 198">
              <a:extLst>
                <a:ext uri="{FF2B5EF4-FFF2-40B4-BE49-F238E27FC236}">
                  <a16:creationId xmlns:a16="http://schemas.microsoft.com/office/drawing/2014/main" id="{EB1ACDD2-A560-43BD-8811-66AF98721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0751" y="4694238"/>
              <a:ext cx="577850" cy="315913"/>
            </a:xfrm>
            <a:custGeom>
              <a:avLst/>
              <a:gdLst>
                <a:gd name="T0" fmla="*/ 1465 w 1604"/>
                <a:gd name="T1" fmla="*/ 235 h 878"/>
                <a:gd name="T2" fmla="*/ 1353 w 1604"/>
                <a:gd name="T3" fmla="*/ 196 h 878"/>
                <a:gd name="T4" fmla="*/ 1083 w 1604"/>
                <a:gd name="T5" fmla="*/ 290 h 878"/>
                <a:gd name="T6" fmla="*/ 1074 w 1604"/>
                <a:gd name="T7" fmla="*/ 260 h 878"/>
                <a:gd name="T8" fmla="*/ 670 w 1604"/>
                <a:gd name="T9" fmla="*/ 9 h 878"/>
                <a:gd name="T10" fmla="*/ 619 w 1604"/>
                <a:gd name="T11" fmla="*/ 0 h 878"/>
                <a:gd name="T12" fmla="*/ 59 w 1604"/>
                <a:gd name="T13" fmla="*/ 131 h 878"/>
                <a:gd name="T14" fmla="*/ 0 w 1604"/>
                <a:gd name="T15" fmla="*/ 207 h 878"/>
                <a:gd name="T16" fmla="*/ 0 w 1604"/>
                <a:gd name="T17" fmla="*/ 494 h 878"/>
                <a:gd name="T18" fmla="*/ 160 w 1604"/>
                <a:gd name="T19" fmla="*/ 342 h 878"/>
                <a:gd name="T20" fmla="*/ 159 w 1604"/>
                <a:gd name="T21" fmla="*/ 271 h 878"/>
                <a:gd name="T22" fmla="*/ 618 w 1604"/>
                <a:gd name="T23" fmla="*/ 163 h 878"/>
                <a:gd name="T24" fmla="*/ 924 w 1604"/>
                <a:gd name="T25" fmla="*/ 355 h 878"/>
                <a:gd name="T26" fmla="*/ 890 w 1604"/>
                <a:gd name="T27" fmla="*/ 417 h 878"/>
                <a:gd name="T28" fmla="*/ 707 w 1604"/>
                <a:gd name="T29" fmla="*/ 299 h 878"/>
                <a:gd name="T30" fmla="*/ 579 w 1604"/>
                <a:gd name="T31" fmla="*/ 318 h 878"/>
                <a:gd name="T32" fmla="*/ 612 w 1604"/>
                <a:gd name="T33" fmla="*/ 429 h 878"/>
                <a:gd name="T34" fmla="*/ 864 w 1604"/>
                <a:gd name="T35" fmla="*/ 586 h 878"/>
                <a:gd name="T36" fmla="*/ 1008 w 1604"/>
                <a:gd name="T37" fmla="*/ 539 h 878"/>
                <a:gd name="T38" fmla="*/ 1045 w 1604"/>
                <a:gd name="T39" fmla="*/ 470 h 878"/>
                <a:gd name="T40" fmla="*/ 1357 w 1604"/>
                <a:gd name="T41" fmla="*/ 365 h 878"/>
                <a:gd name="T42" fmla="*/ 1415 w 1604"/>
                <a:gd name="T43" fmla="*/ 456 h 878"/>
                <a:gd name="T44" fmla="*/ 645 w 1604"/>
                <a:gd name="T45" fmla="*/ 717 h 878"/>
                <a:gd name="T46" fmla="*/ 391 w 1604"/>
                <a:gd name="T47" fmla="*/ 618 h 878"/>
                <a:gd name="T48" fmla="*/ 0 w 1604"/>
                <a:gd name="T49" fmla="*/ 617 h 878"/>
                <a:gd name="T50" fmla="*/ 0 w 1604"/>
                <a:gd name="T51" fmla="*/ 777 h 878"/>
                <a:gd name="T52" fmla="*/ 360 w 1604"/>
                <a:gd name="T53" fmla="*/ 776 h 878"/>
                <a:gd name="T54" fmla="*/ 611 w 1604"/>
                <a:gd name="T55" fmla="*/ 874 h 878"/>
                <a:gd name="T56" fmla="*/ 674 w 1604"/>
                <a:gd name="T57" fmla="*/ 878 h 878"/>
                <a:gd name="T58" fmla="*/ 1560 w 1604"/>
                <a:gd name="T59" fmla="*/ 576 h 878"/>
                <a:gd name="T60" fmla="*/ 1604 w 1604"/>
                <a:gd name="T61" fmla="*/ 450 h 878"/>
                <a:gd name="T62" fmla="*/ 1465 w 1604"/>
                <a:gd name="T63" fmla="*/ 235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4" h="878">
                  <a:moveTo>
                    <a:pt x="1465" y="235"/>
                  </a:moveTo>
                  <a:lnTo>
                    <a:pt x="1353" y="196"/>
                  </a:lnTo>
                  <a:lnTo>
                    <a:pt x="1083" y="290"/>
                  </a:lnTo>
                  <a:lnTo>
                    <a:pt x="1074" y="260"/>
                  </a:lnTo>
                  <a:lnTo>
                    <a:pt x="670" y="9"/>
                  </a:lnTo>
                  <a:lnTo>
                    <a:pt x="619" y="0"/>
                  </a:lnTo>
                  <a:lnTo>
                    <a:pt x="59" y="131"/>
                  </a:lnTo>
                  <a:lnTo>
                    <a:pt x="0" y="207"/>
                  </a:lnTo>
                  <a:lnTo>
                    <a:pt x="0" y="494"/>
                  </a:lnTo>
                  <a:lnTo>
                    <a:pt x="160" y="342"/>
                  </a:lnTo>
                  <a:lnTo>
                    <a:pt x="159" y="271"/>
                  </a:lnTo>
                  <a:lnTo>
                    <a:pt x="618" y="163"/>
                  </a:lnTo>
                  <a:lnTo>
                    <a:pt x="924" y="355"/>
                  </a:lnTo>
                  <a:lnTo>
                    <a:pt x="890" y="417"/>
                  </a:lnTo>
                  <a:lnTo>
                    <a:pt x="707" y="299"/>
                  </a:lnTo>
                  <a:lnTo>
                    <a:pt x="579" y="318"/>
                  </a:lnTo>
                  <a:lnTo>
                    <a:pt x="612" y="429"/>
                  </a:lnTo>
                  <a:lnTo>
                    <a:pt x="864" y="586"/>
                  </a:lnTo>
                  <a:lnTo>
                    <a:pt x="1008" y="539"/>
                  </a:lnTo>
                  <a:lnTo>
                    <a:pt x="1045" y="470"/>
                  </a:lnTo>
                  <a:lnTo>
                    <a:pt x="1357" y="365"/>
                  </a:lnTo>
                  <a:lnTo>
                    <a:pt x="1415" y="456"/>
                  </a:lnTo>
                  <a:lnTo>
                    <a:pt x="645" y="717"/>
                  </a:lnTo>
                  <a:lnTo>
                    <a:pt x="391" y="618"/>
                  </a:lnTo>
                  <a:lnTo>
                    <a:pt x="0" y="617"/>
                  </a:lnTo>
                  <a:lnTo>
                    <a:pt x="0" y="777"/>
                  </a:lnTo>
                  <a:lnTo>
                    <a:pt x="360" y="776"/>
                  </a:lnTo>
                  <a:lnTo>
                    <a:pt x="611" y="874"/>
                  </a:lnTo>
                  <a:lnTo>
                    <a:pt x="674" y="878"/>
                  </a:lnTo>
                  <a:lnTo>
                    <a:pt x="1560" y="576"/>
                  </a:lnTo>
                  <a:lnTo>
                    <a:pt x="1604" y="450"/>
                  </a:lnTo>
                  <a:lnTo>
                    <a:pt x="1465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8" name="Freeform 199">
              <a:extLst>
                <a:ext uri="{FF2B5EF4-FFF2-40B4-BE49-F238E27FC236}">
                  <a16:creationId xmlns:a16="http://schemas.microsoft.com/office/drawing/2014/main" id="{987988D3-A7EB-401C-B2F0-C416C6F1F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4764088"/>
              <a:ext cx="112713" cy="98425"/>
            </a:xfrm>
            <a:custGeom>
              <a:avLst/>
              <a:gdLst>
                <a:gd name="T0" fmla="*/ 312 w 312"/>
                <a:gd name="T1" fmla="*/ 169 h 274"/>
                <a:gd name="T2" fmla="*/ 0 w 312"/>
                <a:gd name="T3" fmla="*/ 274 h 274"/>
                <a:gd name="T4" fmla="*/ 38 w 312"/>
                <a:gd name="T5" fmla="*/ 94 h 274"/>
                <a:gd name="T6" fmla="*/ 308 w 312"/>
                <a:gd name="T7" fmla="*/ 0 h 274"/>
                <a:gd name="T8" fmla="*/ 312 w 312"/>
                <a:gd name="T9" fmla="*/ 169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2" h="274">
                  <a:moveTo>
                    <a:pt x="312" y="169"/>
                  </a:moveTo>
                  <a:lnTo>
                    <a:pt x="0" y="274"/>
                  </a:lnTo>
                  <a:lnTo>
                    <a:pt x="38" y="94"/>
                  </a:lnTo>
                  <a:lnTo>
                    <a:pt x="308" y="0"/>
                  </a:lnTo>
                  <a:lnTo>
                    <a:pt x="312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Arial" panose="020B0604020202020204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22CEFCD-9434-47ED-B31A-A13FA63E47A6}"/>
              </a:ext>
            </a:extLst>
          </p:cNvPr>
          <p:cNvGrpSpPr/>
          <p:nvPr/>
        </p:nvGrpSpPr>
        <p:grpSpPr>
          <a:xfrm>
            <a:off x="2766431" y="1301385"/>
            <a:ext cx="310404" cy="311298"/>
            <a:chOff x="6523038" y="4465638"/>
            <a:chExt cx="550863" cy="552450"/>
          </a:xfrm>
          <a:solidFill>
            <a:schemeClr val="bg1"/>
          </a:solidFill>
        </p:grpSpPr>
        <p:sp>
          <p:nvSpPr>
            <p:cNvPr id="40" name="Freeform 278">
              <a:extLst>
                <a:ext uri="{FF2B5EF4-FFF2-40B4-BE49-F238E27FC236}">
                  <a16:creationId xmlns:a16="http://schemas.microsoft.com/office/drawing/2014/main" id="{4A180A74-EF10-4009-9147-DE7D42838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4629150"/>
              <a:ext cx="366713" cy="388938"/>
            </a:xfrm>
            <a:custGeom>
              <a:avLst/>
              <a:gdLst>
                <a:gd name="T0" fmla="*/ 454 w 1021"/>
                <a:gd name="T1" fmla="*/ 964 h 1077"/>
                <a:gd name="T2" fmla="*/ 114 w 1021"/>
                <a:gd name="T3" fmla="*/ 624 h 1077"/>
                <a:gd name="T4" fmla="*/ 624 w 1021"/>
                <a:gd name="T5" fmla="*/ 113 h 1077"/>
                <a:gd name="T6" fmla="*/ 907 w 1021"/>
                <a:gd name="T7" fmla="*/ 397 h 1077"/>
                <a:gd name="T8" fmla="*/ 1021 w 1021"/>
                <a:gd name="T9" fmla="*/ 283 h 1077"/>
                <a:gd name="T10" fmla="*/ 737 w 1021"/>
                <a:gd name="T11" fmla="*/ 0 h 1077"/>
                <a:gd name="T12" fmla="*/ 511 w 1021"/>
                <a:gd name="T13" fmla="*/ 0 h 1077"/>
                <a:gd name="T14" fmla="*/ 0 w 1021"/>
                <a:gd name="T15" fmla="*/ 510 h 1077"/>
                <a:gd name="T16" fmla="*/ 0 w 1021"/>
                <a:gd name="T17" fmla="*/ 737 h 1077"/>
                <a:gd name="T18" fmla="*/ 341 w 1021"/>
                <a:gd name="T19" fmla="*/ 1077 h 1077"/>
                <a:gd name="T20" fmla="*/ 567 w 1021"/>
                <a:gd name="T21" fmla="*/ 1077 h 1077"/>
                <a:gd name="T22" fmla="*/ 851 w 1021"/>
                <a:gd name="T23" fmla="*/ 794 h 1077"/>
                <a:gd name="T24" fmla="*/ 737 w 1021"/>
                <a:gd name="T25" fmla="*/ 680 h 1077"/>
                <a:gd name="T26" fmla="*/ 454 w 1021"/>
                <a:gd name="T27" fmla="*/ 964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1" h="1077">
                  <a:moveTo>
                    <a:pt x="454" y="964"/>
                  </a:moveTo>
                  <a:lnTo>
                    <a:pt x="114" y="624"/>
                  </a:lnTo>
                  <a:lnTo>
                    <a:pt x="624" y="113"/>
                  </a:lnTo>
                  <a:lnTo>
                    <a:pt x="907" y="397"/>
                  </a:lnTo>
                  <a:lnTo>
                    <a:pt x="1021" y="283"/>
                  </a:lnTo>
                  <a:lnTo>
                    <a:pt x="737" y="0"/>
                  </a:lnTo>
                  <a:lnTo>
                    <a:pt x="511" y="0"/>
                  </a:lnTo>
                  <a:lnTo>
                    <a:pt x="0" y="510"/>
                  </a:lnTo>
                  <a:lnTo>
                    <a:pt x="0" y="737"/>
                  </a:lnTo>
                  <a:lnTo>
                    <a:pt x="341" y="1077"/>
                  </a:lnTo>
                  <a:lnTo>
                    <a:pt x="567" y="1077"/>
                  </a:lnTo>
                  <a:lnTo>
                    <a:pt x="851" y="794"/>
                  </a:lnTo>
                  <a:lnTo>
                    <a:pt x="737" y="680"/>
                  </a:lnTo>
                  <a:lnTo>
                    <a:pt x="454" y="9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41" name="Freeform 279">
              <a:extLst>
                <a:ext uri="{FF2B5EF4-FFF2-40B4-BE49-F238E27FC236}">
                  <a16:creationId xmlns:a16="http://schemas.microsoft.com/office/drawing/2014/main" id="{A35DE8A3-283C-47B1-B61F-132B09C85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188" y="4465638"/>
              <a:ext cx="366713" cy="388938"/>
            </a:xfrm>
            <a:custGeom>
              <a:avLst/>
              <a:gdLst>
                <a:gd name="T0" fmla="*/ 567 w 1020"/>
                <a:gd name="T1" fmla="*/ 114 h 1078"/>
                <a:gd name="T2" fmla="*/ 907 w 1020"/>
                <a:gd name="T3" fmla="*/ 454 h 1078"/>
                <a:gd name="T4" fmla="*/ 396 w 1020"/>
                <a:gd name="T5" fmla="*/ 964 h 1078"/>
                <a:gd name="T6" fmla="*/ 113 w 1020"/>
                <a:gd name="T7" fmla="*/ 681 h 1078"/>
                <a:gd name="T8" fmla="*/ 0 w 1020"/>
                <a:gd name="T9" fmla="*/ 794 h 1078"/>
                <a:gd name="T10" fmla="*/ 283 w 1020"/>
                <a:gd name="T11" fmla="*/ 1078 h 1078"/>
                <a:gd name="T12" fmla="*/ 510 w 1020"/>
                <a:gd name="T13" fmla="*/ 1078 h 1078"/>
                <a:gd name="T14" fmla="*/ 1020 w 1020"/>
                <a:gd name="T15" fmla="*/ 567 h 1078"/>
                <a:gd name="T16" fmla="*/ 1020 w 1020"/>
                <a:gd name="T17" fmla="*/ 341 h 1078"/>
                <a:gd name="T18" fmla="*/ 680 w 1020"/>
                <a:gd name="T19" fmla="*/ 0 h 1078"/>
                <a:gd name="T20" fmla="*/ 453 w 1020"/>
                <a:gd name="T21" fmla="*/ 0 h 1078"/>
                <a:gd name="T22" fmla="*/ 170 w 1020"/>
                <a:gd name="T23" fmla="*/ 284 h 1078"/>
                <a:gd name="T24" fmla="*/ 283 w 1020"/>
                <a:gd name="T25" fmla="*/ 397 h 1078"/>
                <a:gd name="T26" fmla="*/ 567 w 1020"/>
                <a:gd name="T27" fmla="*/ 114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0" h="1078">
                  <a:moveTo>
                    <a:pt x="567" y="114"/>
                  </a:moveTo>
                  <a:lnTo>
                    <a:pt x="907" y="454"/>
                  </a:lnTo>
                  <a:lnTo>
                    <a:pt x="396" y="964"/>
                  </a:lnTo>
                  <a:lnTo>
                    <a:pt x="113" y="681"/>
                  </a:lnTo>
                  <a:lnTo>
                    <a:pt x="0" y="794"/>
                  </a:lnTo>
                  <a:lnTo>
                    <a:pt x="283" y="1078"/>
                  </a:lnTo>
                  <a:lnTo>
                    <a:pt x="510" y="1078"/>
                  </a:lnTo>
                  <a:lnTo>
                    <a:pt x="1020" y="567"/>
                  </a:lnTo>
                  <a:lnTo>
                    <a:pt x="1020" y="341"/>
                  </a:lnTo>
                  <a:lnTo>
                    <a:pt x="680" y="0"/>
                  </a:lnTo>
                  <a:lnTo>
                    <a:pt x="453" y="0"/>
                  </a:lnTo>
                  <a:lnTo>
                    <a:pt x="170" y="284"/>
                  </a:lnTo>
                  <a:lnTo>
                    <a:pt x="283" y="397"/>
                  </a:lnTo>
                  <a:lnTo>
                    <a:pt x="567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42" name="Freeform 280">
              <a:extLst>
                <a:ext uri="{FF2B5EF4-FFF2-40B4-BE49-F238E27FC236}">
                  <a16:creationId xmlns:a16="http://schemas.microsoft.com/office/drawing/2014/main" id="{B3C62507-357A-4759-9E68-79CDEA441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2300" y="4527550"/>
              <a:ext cx="101600" cy="101600"/>
            </a:xfrm>
            <a:custGeom>
              <a:avLst/>
              <a:gdLst>
                <a:gd name="T0" fmla="*/ 113 w 283"/>
                <a:gd name="T1" fmla="*/ 0 h 284"/>
                <a:gd name="T2" fmla="*/ 283 w 283"/>
                <a:gd name="T3" fmla="*/ 171 h 284"/>
                <a:gd name="T4" fmla="*/ 170 w 283"/>
                <a:gd name="T5" fmla="*/ 284 h 284"/>
                <a:gd name="T6" fmla="*/ 0 w 283"/>
                <a:gd name="T7" fmla="*/ 114 h 284"/>
                <a:gd name="T8" fmla="*/ 113 w 283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3" h="284">
                  <a:moveTo>
                    <a:pt x="113" y="0"/>
                  </a:moveTo>
                  <a:lnTo>
                    <a:pt x="283" y="171"/>
                  </a:lnTo>
                  <a:lnTo>
                    <a:pt x="170" y="284"/>
                  </a:lnTo>
                  <a:lnTo>
                    <a:pt x="0" y="114"/>
                  </a:lnTo>
                  <a:lnTo>
                    <a:pt x="1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43" name="Freeform 281">
              <a:extLst>
                <a:ext uri="{FF2B5EF4-FFF2-40B4-BE49-F238E27FC236}">
                  <a16:creationId xmlns:a16="http://schemas.microsoft.com/office/drawing/2014/main" id="{8D209FDE-7EF3-4E80-BC9F-53B03A999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4854575"/>
              <a:ext cx="101600" cy="101600"/>
            </a:xfrm>
            <a:custGeom>
              <a:avLst/>
              <a:gdLst>
                <a:gd name="T0" fmla="*/ 170 w 284"/>
                <a:gd name="T1" fmla="*/ 283 h 283"/>
                <a:gd name="T2" fmla="*/ 0 w 284"/>
                <a:gd name="T3" fmla="*/ 113 h 283"/>
                <a:gd name="T4" fmla="*/ 114 w 284"/>
                <a:gd name="T5" fmla="*/ 0 h 283"/>
                <a:gd name="T6" fmla="*/ 284 w 284"/>
                <a:gd name="T7" fmla="*/ 170 h 283"/>
                <a:gd name="T8" fmla="*/ 170 w 284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4" h="283">
                  <a:moveTo>
                    <a:pt x="170" y="283"/>
                  </a:moveTo>
                  <a:lnTo>
                    <a:pt x="0" y="113"/>
                  </a:lnTo>
                  <a:lnTo>
                    <a:pt x="114" y="0"/>
                  </a:lnTo>
                  <a:lnTo>
                    <a:pt x="284" y="170"/>
                  </a:lnTo>
                  <a:lnTo>
                    <a:pt x="170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pt-BR" sz="1350">
                <a:solidFill>
                  <a:prstClr val="black"/>
                </a:solidFill>
                <a:latin typeface="Arial" panose="020B0604020202020204"/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FFEADD0-CF01-4DAB-B501-A7ADFF924B37}"/>
              </a:ext>
            </a:extLst>
          </p:cNvPr>
          <p:cNvSpPr/>
          <p:nvPr/>
        </p:nvSpPr>
        <p:spPr>
          <a:xfrm>
            <a:off x="2680753" y="2844263"/>
            <a:ext cx="1293125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Salesforc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A1E1EE7-C119-4F2D-86FF-D2A663D2EC44}"/>
              </a:ext>
            </a:extLst>
          </p:cNvPr>
          <p:cNvSpPr/>
          <p:nvPr/>
        </p:nvSpPr>
        <p:spPr>
          <a:xfrm>
            <a:off x="2680753" y="3922334"/>
            <a:ext cx="1293125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AT&amp;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955C06C-E077-4121-842F-00032E5CE606}"/>
              </a:ext>
            </a:extLst>
          </p:cNvPr>
          <p:cNvSpPr/>
          <p:nvPr/>
        </p:nvSpPr>
        <p:spPr>
          <a:xfrm>
            <a:off x="2680753" y="3383299"/>
            <a:ext cx="1293125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Amaz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E948456-DAC3-4A86-99BD-999563AFB467}"/>
              </a:ext>
            </a:extLst>
          </p:cNvPr>
          <p:cNvSpPr/>
          <p:nvPr/>
        </p:nvSpPr>
        <p:spPr>
          <a:xfrm>
            <a:off x="4874503" y="2839862"/>
            <a:ext cx="480060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Netflix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3AE6275-84C1-4445-A7F6-AEDBAE56376F}"/>
              </a:ext>
            </a:extLst>
          </p:cNvPr>
          <p:cNvSpPr/>
          <p:nvPr/>
        </p:nvSpPr>
        <p:spPr>
          <a:xfrm>
            <a:off x="4874503" y="3922334"/>
            <a:ext cx="754380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Equifax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F18B9B7-2CAF-4637-9744-539C27753214}"/>
              </a:ext>
            </a:extLst>
          </p:cNvPr>
          <p:cNvSpPr/>
          <p:nvPr/>
        </p:nvSpPr>
        <p:spPr>
          <a:xfrm>
            <a:off x="4874503" y="3383299"/>
            <a:ext cx="754380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Walgreen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E07E877-F187-4DC7-8442-617AE883939D}"/>
              </a:ext>
            </a:extLst>
          </p:cNvPr>
          <p:cNvSpPr/>
          <p:nvPr/>
        </p:nvSpPr>
        <p:spPr>
          <a:xfrm>
            <a:off x="7025715" y="2844263"/>
            <a:ext cx="891540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Facebook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053C9E5-4CBE-4A9A-8371-591B5F40FC02}"/>
              </a:ext>
            </a:extLst>
          </p:cNvPr>
          <p:cNvSpPr/>
          <p:nvPr/>
        </p:nvSpPr>
        <p:spPr>
          <a:xfrm>
            <a:off x="7025715" y="3922334"/>
            <a:ext cx="891540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Paypal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C6E3002-C8C1-4AD7-8195-5EDC8260EBFF}"/>
              </a:ext>
            </a:extLst>
          </p:cNvPr>
          <p:cNvSpPr/>
          <p:nvPr/>
        </p:nvSpPr>
        <p:spPr>
          <a:xfrm>
            <a:off x="7025715" y="3383299"/>
            <a:ext cx="891540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Google Map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184C7CB-D522-4679-91CE-1C18B33A8907}"/>
              </a:ext>
            </a:extLst>
          </p:cNvPr>
          <p:cNvSpPr/>
          <p:nvPr/>
        </p:nvSpPr>
        <p:spPr>
          <a:xfrm>
            <a:off x="8065376" y="2834809"/>
            <a:ext cx="891540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Amaz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71D4820-841B-44BE-87CC-6FACA6A64CFE}"/>
              </a:ext>
            </a:extLst>
          </p:cNvPr>
          <p:cNvSpPr/>
          <p:nvPr/>
        </p:nvSpPr>
        <p:spPr>
          <a:xfrm>
            <a:off x="5732630" y="3909698"/>
            <a:ext cx="754380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Fedex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58A4AB2-BEF4-436E-B3A6-F56AE749F3E7}"/>
              </a:ext>
            </a:extLst>
          </p:cNvPr>
          <p:cNvSpPr/>
          <p:nvPr/>
        </p:nvSpPr>
        <p:spPr>
          <a:xfrm>
            <a:off x="5732630" y="3370663"/>
            <a:ext cx="754380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Skyp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0242DCC-19A3-4F67-A3CF-59851EBA3EAE}"/>
              </a:ext>
            </a:extLst>
          </p:cNvPr>
          <p:cNvSpPr/>
          <p:nvPr/>
        </p:nvSpPr>
        <p:spPr>
          <a:xfrm>
            <a:off x="6130981" y="2844263"/>
            <a:ext cx="560828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Youtub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569F2F6-AE20-45F6-BC49-FE691B703FC7}"/>
              </a:ext>
            </a:extLst>
          </p:cNvPr>
          <p:cNvSpPr/>
          <p:nvPr/>
        </p:nvSpPr>
        <p:spPr>
          <a:xfrm>
            <a:off x="5502742" y="2835462"/>
            <a:ext cx="480060" cy="350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685800">
              <a:lnSpc>
                <a:spcPct val="90000"/>
              </a:lnSpc>
            </a:pPr>
            <a:r>
              <a:rPr lang="en-US" sz="900" b="1">
                <a:solidFill>
                  <a:sysClr val="windowText" lastClr="000000"/>
                </a:solidFill>
                <a:latin typeface="Arial" panose="020B0604020202020204"/>
              </a:rPr>
              <a:t>Spotify</a:t>
            </a:r>
          </a:p>
        </p:txBody>
      </p:sp>
    </p:spTree>
    <p:extLst>
      <p:ext uri="{BB962C8B-B14F-4D97-AF65-F5344CB8AC3E}">
        <p14:creationId xmlns:p14="http://schemas.microsoft.com/office/powerpoint/2010/main" val="30157783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38779E-887F-4E6C-A960-1A93E6C11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65A074-71B0-1C47-A455-7677837C124E}" type="slidenum">
              <a:rPr kumimoji="0" lang="it-IT" sz="700" b="0" i="0" u="none" strike="noStrike" kern="1200" cap="none" spc="0" normalizeH="0" baseline="0" noProof="0" smtClean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A91F9-FCB7-4743-8350-DE8C8243C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cs typeface="+mn-cs"/>
              </a:rPr>
              <a:t>8 April 202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C62C84-1193-4ADB-8A85-1D89F2FE9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cs typeface="+mn-cs"/>
              </a:rPr>
              <a:t>Microservices 1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7903B0A-C96B-41D0-8272-1E599D44A9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390F593-5623-4A34-A97D-B347E3602C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hat is the difference between Microservice and API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19A5FAE-5B44-4269-BF9D-C060F0AAE875}"/>
              </a:ext>
            </a:extLst>
          </p:cNvPr>
          <p:cNvSpPr/>
          <p:nvPr/>
        </p:nvSpPr>
        <p:spPr>
          <a:xfrm>
            <a:off x="2228875" y="1846729"/>
            <a:ext cx="4500282" cy="28626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3153E9-CD9C-4ECD-B683-69D590B4A117}"/>
              </a:ext>
            </a:extLst>
          </p:cNvPr>
          <p:cNvSpPr/>
          <p:nvPr/>
        </p:nvSpPr>
        <p:spPr>
          <a:xfrm>
            <a:off x="3679201" y="2307291"/>
            <a:ext cx="1683021" cy="52891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Regular"/>
                <a:cs typeface="+mn-cs"/>
              </a:rPr>
              <a:t>Microservice 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61D693B-E50C-4A7C-8F53-E130E013902B}"/>
              </a:ext>
            </a:extLst>
          </p:cNvPr>
          <p:cNvSpPr/>
          <p:nvPr/>
        </p:nvSpPr>
        <p:spPr>
          <a:xfrm>
            <a:off x="4985707" y="3294592"/>
            <a:ext cx="1683021" cy="52891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Regular"/>
                <a:cs typeface="+mn-cs"/>
              </a:rPr>
              <a:t>Microservice 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B391A7-6E59-4876-B5FC-8F1F038F388C}"/>
              </a:ext>
            </a:extLst>
          </p:cNvPr>
          <p:cNvSpPr/>
          <p:nvPr/>
        </p:nvSpPr>
        <p:spPr>
          <a:xfrm>
            <a:off x="2320885" y="3294592"/>
            <a:ext cx="1683021" cy="528918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Regular"/>
                <a:cs typeface="+mn-cs"/>
              </a:rPr>
              <a:t>Microservice B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59FC789-8461-4DF6-8705-6110AE9CDC32}"/>
              </a:ext>
            </a:extLst>
          </p:cNvPr>
          <p:cNvCxnSpPr>
            <a:cxnSpLocks/>
            <a:stCxn id="17" idx="4"/>
            <a:endCxn id="13" idx="0"/>
          </p:cNvCxnSpPr>
          <p:nvPr/>
        </p:nvCxnSpPr>
        <p:spPr>
          <a:xfrm>
            <a:off x="3162396" y="1389134"/>
            <a:ext cx="0" cy="1905458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2DE1AAD6-D953-49B0-9463-3B48C523C2D9}"/>
              </a:ext>
            </a:extLst>
          </p:cNvPr>
          <p:cNvSpPr/>
          <p:nvPr/>
        </p:nvSpPr>
        <p:spPr>
          <a:xfrm>
            <a:off x="3131020" y="1317021"/>
            <a:ext cx="62752" cy="7211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01482AC-41DB-4B20-B561-201A0E40E2F6}"/>
              </a:ext>
            </a:extLst>
          </p:cNvPr>
          <p:cNvCxnSpPr>
            <a:cxnSpLocks/>
          </p:cNvCxnSpPr>
          <p:nvPr/>
        </p:nvCxnSpPr>
        <p:spPr>
          <a:xfrm>
            <a:off x="4529514" y="1389134"/>
            <a:ext cx="0" cy="9132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D55D83F5-C208-409A-BC8A-3875D96EE993}"/>
              </a:ext>
            </a:extLst>
          </p:cNvPr>
          <p:cNvSpPr/>
          <p:nvPr/>
        </p:nvSpPr>
        <p:spPr>
          <a:xfrm>
            <a:off x="4489335" y="1326564"/>
            <a:ext cx="62752" cy="7211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3E45E12B-F021-440D-B6CA-6841183ED7C0}"/>
              </a:ext>
            </a:extLst>
          </p:cNvPr>
          <p:cNvSpPr/>
          <p:nvPr/>
        </p:nvSpPr>
        <p:spPr>
          <a:xfrm>
            <a:off x="206189" y="1680882"/>
            <a:ext cx="1505882" cy="694765"/>
          </a:xfrm>
          <a:prstGeom prst="borderCallout2">
            <a:avLst>
              <a:gd name="adj1" fmla="val 24205"/>
              <a:gd name="adj2" fmla="val 102164"/>
              <a:gd name="adj3" fmla="val -23068"/>
              <a:gd name="adj4" fmla="val 135778"/>
              <a:gd name="adj5" fmla="val -37294"/>
              <a:gd name="adj6" fmla="val 194037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cs typeface="+mn-cs"/>
              </a:rPr>
              <a:t>APIs are interfaces</a:t>
            </a:r>
          </a:p>
        </p:txBody>
      </p:sp>
      <p:sp>
        <p:nvSpPr>
          <p:cNvPr id="27" name="Callout: Bent Line 26">
            <a:extLst>
              <a:ext uri="{FF2B5EF4-FFF2-40B4-BE49-F238E27FC236}">
                <a16:creationId xmlns:a16="http://schemas.microsoft.com/office/drawing/2014/main" id="{3DDE88E4-EC73-49B0-9378-A17EDF9F2F17}"/>
              </a:ext>
            </a:extLst>
          </p:cNvPr>
          <p:cNvSpPr/>
          <p:nvPr/>
        </p:nvSpPr>
        <p:spPr>
          <a:xfrm>
            <a:off x="206189" y="3606012"/>
            <a:ext cx="1791944" cy="830521"/>
          </a:xfrm>
          <a:prstGeom prst="borderCallout2">
            <a:avLst>
              <a:gd name="adj1" fmla="val 24205"/>
              <a:gd name="adj2" fmla="val 102164"/>
              <a:gd name="adj3" fmla="val -40738"/>
              <a:gd name="adj4" fmla="val 110579"/>
              <a:gd name="adj5" fmla="val -49496"/>
              <a:gd name="adj6" fmla="val 114170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cs typeface="+mn-cs"/>
              </a:rPr>
              <a:t>Microservices are component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87D2503-1295-46AC-9F07-77A45AF30A10}"/>
              </a:ext>
            </a:extLst>
          </p:cNvPr>
          <p:cNvCxnSpPr>
            <a:cxnSpLocks/>
          </p:cNvCxnSpPr>
          <p:nvPr/>
        </p:nvCxnSpPr>
        <p:spPr>
          <a:xfrm>
            <a:off x="5054939" y="1396666"/>
            <a:ext cx="0" cy="9132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" name="Oval 30">
            <a:extLst>
              <a:ext uri="{FF2B5EF4-FFF2-40B4-BE49-F238E27FC236}">
                <a16:creationId xmlns:a16="http://schemas.microsoft.com/office/drawing/2014/main" id="{74EEE102-928B-4A27-AC22-2AC057AA91F5}"/>
              </a:ext>
            </a:extLst>
          </p:cNvPr>
          <p:cNvSpPr/>
          <p:nvPr/>
        </p:nvSpPr>
        <p:spPr>
          <a:xfrm>
            <a:off x="5014760" y="1334096"/>
            <a:ext cx="62752" cy="7211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E49A410-2D93-4670-B207-02586F15F366}"/>
              </a:ext>
            </a:extLst>
          </p:cNvPr>
          <p:cNvSpPr txBox="1"/>
          <p:nvPr/>
        </p:nvSpPr>
        <p:spPr>
          <a:xfrm>
            <a:off x="2853512" y="981007"/>
            <a:ext cx="58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cs typeface="+mn-cs"/>
              </a:rPr>
              <a:t>API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BEEC562-FF7C-422C-A7F9-32D6757D599A}"/>
              </a:ext>
            </a:extLst>
          </p:cNvPr>
          <p:cNvSpPr txBox="1"/>
          <p:nvPr/>
        </p:nvSpPr>
        <p:spPr>
          <a:xfrm>
            <a:off x="4188658" y="996721"/>
            <a:ext cx="58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cs typeface="+mn-cs"/>
              </a:rPr>
              <a:t>API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DF5F1E6-045A-467A-A609-84E0D5EF7A5C}"/>
              </a:ext>
            </a:extLst>
          </p:cNvPr>
          <p:cNvSpPr txBox="1"/>
          <p:nvPr/>
        </p:nvSpPr>
        <p:spPr>
          <a:xfrm>
            <a:off x="4787154" y="981007"/>
            <a:ext cx="58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cs typeface="+mn-cs"/>
              </a:rPr>
              <a:t>API</a:t>
            </a:r>
          </a:p>
        </p:txBody>
      </p:sp>
      <p:sp>
        <p:nvSpPr>
          <p:cNvPr id="36" name="Callout: Bent Line 35">
            <a:extLst>
              <a:ext uri="{FF2B5EF4-FFF2-40B4-BE49-F238E27FC236}">
                <a16:creationId xmlns:a16="http://schemas.microsoft.com/office/drawing/2014/main" id="{9F98880C-189F-405B-B282-9A635DB992DA}"/>
              </a:ext>
            </a:extLst>
          </p:cNvPr>
          <p:cNvSpPr/>
          <p:nvPr/>
        </p:nvSpPr>
        <p:spPr>
          <a:xfrm>
            <a:off x="7006665" y="1337482"/>
            <a:ext cx="1881131" cy="1254729"/>
          </a:xfrm>
          <a:prstGeom prst="borderCallout2">
            <a:avLst>
              <a:gd name="adj1" fmla="val 27455"/>
              <a:gd name="adj2" fmla="val -538"/>
              <a:gd name="adj3" fmla="val 13767"/>
              <a:gd name="adj4" fmla="val -40394"/>
              <a:gd name="adj5" fmla="val -8517"/>
              <a:gd name="adj6" fmla="val -91854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cs typeface="+mn-cs"/>
              </a:rPr>
              <a:t>Microservices can be used to expose one or more APIs</a:t>
            </a:r>
          </a:p>
        </p:txBody>
      </p:sp>
      <p:sp>
        <p:nvSpPr>
          <p:cNvPr id="37" name="Callout: Bent Line 36">
            <a:extLst>
              <a:ext uri="{FF2B5EF4-FFF2-40B4-BE49-F238E27FC236}">
                <a16:creationId xmlns:a16="http://schemas.microsoft.com/office/drawing/2014/main" id="{50E6A3F9-C725-48E2-A854-DF93BED1DDC2}"/>
              </a:ext>
            </a:extLst>
          </p:cNvPr>
          <p:cNvSpPr/>
          <p:nvPr/>
        </p:nvSpPr>
        <p:spPr>
          <a:xfrm>
            <a:off x="6945949" y="3294593"/>
            <a:ext cx="1881131" cy="1124548"/>
          </a:xfrm>
          <a:prstGeom prst="borderCallout2">
            <a:avLst>
              <a:gd name="adj1" fmla="val 27455"/>
              <a:gd name="adj2" fmla="val -538"/>
              <a:gd name="adj3" fmla="val 2875"/>
              <a:gd name="adj4" fmla="val -7388"/>
              <a:gd name="adj5" fmla="val 12564"/>
              <a:gd name="adj6" fmla="val -21641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cs typeface="+mn-cs"/>
              </a:rPr>
              <a:t>Not all microservices components expose API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57BE462-5597-4FD8-9746-2798787F84B4}"/>
              </a:ext>
            </a:extLst>
          </p:cNvPr>
          <p:cNvCxnSpPr/>
          <p:nvPr/>
        </p:nvCxnSpPr>
        <p:spPr>
          <a:xfrm>
            <a:off x="4937213" y="2836209"/>
            <a:ext cx="576081" cy="458383"/>
          </a:xfrm>
          <a:prstGeom prst="line">
            <a:avLst/>
          </a:prstGeom>
          <a:ln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9338D74-E8A4-4BB1-A112-7E50EF51E422}"/>
              </a:ext>
            </a:extLst>
          </p:cNvPr>
          <p:cNvCxnSpPr>
            <a:cxnSpLocks/>
          </p:cNvCxnSpPr>
          <p:nvPr/>
        </p:nvCxnSpPr>
        <p:spPr>
          <a:xfrm flipV="1">
            <a:off x="4087906" y="3517527"/>
            <a:ext cx="849307" cy="1"/>
          </a:xfrm>
          <a:prstGeom prst="line">
            <a:avLst/>
          </a:prstGeom>
          <a:ln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6498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F9C69B-C460-49AC-AB87-11A2EBBAC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1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1CEE08-1A92-49C6-9D9B-2BFAA04C5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111338-16B8-4DB4-AB3B-71FEE46260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2E54CC-9CF9-45B8-93A0-6263EF4744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US" sz="1600"/>
              <a:t>Speaker Introduction</a:t>
            </a:r>
          </a:p>
          <a:p>
            <a:pPr>
              <a:lnSpc>
                <a:spcPct val="200000"/>
              </a:lnSpc>
            </a:pPr>
            <a:r>
              <a:rPr lang="en-US" sz="1600"/>
              <a:t>Trainee Student Introduction </a:t>
            </a:r>
          </a:p>
          <a:p>
            <a:pPr>
              <a:lnSpc>
                <a:spcPct val="200000"/>
              </a:lnSpc>
            </a:pPr>
            <a:r>
              <a:rPr lang="en-US" sz="1600"/>
              <a:t>Course Introduction</a:t>
            </a:r>
          </a:p>
          <a:p>
            <a:pPr>
              <a:lnSpc>
                <a:spcPct val="200000"/>
              </a:lnSpc>
            </a:pPr>
            <a:r>
              <a:rPr lang="en-US" sz="1600"/>
              <a:t>Virtual Class Logistics</a:t>
            </a:r>
          </a:p>
          <a:p>
            <a:pPr>
              <a:lnSpc>
                <a:spcPct val="200000"/>
              </a:lnSpc>
            </a:pPr>
            <a:r>
              <a:rPr lang="en-US" sz="1600"/>
              <a:t>What is API?</a:t>
            </a:r>
          </a:p>
          <a:p>
            <a:pPr>
              <a:lnSpc>
                <a:spcPct val="200000"/>
              </a:lnSpc>
            </a:pPr>
            <a:r>
              <a:rPr lang="en-US" sz="1600"/>
              <a:t>Different Delivery Model</a:t>
            </a:r>
          </a:p>
        </p:txBody>
      </p:sp>
    </p:spTree>
    <p:extLst>
      <p:ext uri="{BB962C8B-B14F-4D97-AF65-F5344CB8AC3E}">
        <p14:creationId xmlns:p14="http://schemas.microsoft.com/office/powerpoint/2010/main" val="11524846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9271333-0AEC-4C60-AB35-DC2DB04E5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19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E52A0E-17A4-4E67-A494-170277E5F5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334C81-BE04-4143-BFFB-43C052428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2566F38-1E80-4BB8-9308-7EA6E22C28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21B94DD-6D5E-4B65-8779-BAF8EB57151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3C684A-AA2C-4627-AF01-01B9E7DF4D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Different Delivery Model</a:t>
            </a:r>
          </a:p>
        </p:txBody>
      </p:sp>
    </p:spTree>
    <p:extLst>
      <p:ext uri="{BB962C8B-B14F-4D97-AF65-F5344CB8AC3E}">
        <p14:creationId xmlns:p14="http://schemas.microsoft.com/office/powerpoint/2010/main" val="31994169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38779E-887F-4E6C-A960-1A93E6C11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20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A91F9-FCB7-4743-8350-DE8C8243C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C62C84-1193-4ADB-8A85-1D89F2FE9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8152BC-43A6-4818-8311-0A33454E62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7903B0A-C96B-41D0-8272-1E599D44A9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DevOps focus on delivering a minimal viable product (MVP) soonest that delivers tangible business valu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00C613B-7A36-4F9E-BEB8-BB983932CC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7665" y="1262063"/>
            <a:ext cx="3767136" cy="3283744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9908F8E-24EC-4C31-85C7-54DDEB8FF9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Different Delivery Model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A50C8D93-9BF5-4EE9-8AD3-99672CEED5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96" b="6374"/>
          <a:stretch/>
        </p:blipFill>
        <p:spPr bwMode="auto">
          <a:xfrm>
            <a:off x="923733" y="1238619"/>
            <a:ext cx="7379134" cy="3606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64221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4E0AF38-0800-47DB-81E8-E5A9B2806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21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A17ACE-C3C6-43C4-A6C4-015EE5ABD1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BCCF7F-39CF-4321-8F16-ED5965BAA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A3EBD3-21ED-48A0-88D0-BB9EEA320D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98DA233-21D9-47C6-AB53-934A93D625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4" descr="DevOps Toolbox: Top 12 Recommended DevOps Apps for 2018">
            <a:extLst>
              <a:ext uri="{FF2B5EF4-FFF2-40B4-BE49-F238E27FC236}">
                <a16:creationId xmlns:a16="http://schemas.microsoft.com/office/drawing/2014/main" id="{74D9B133-CBCB-4BA3-9CA7-16196EF4CA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631" y="395179"/>
            <a:ext cx="7508900" cy="4217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C71663F-75AC-41F2-812E-689C361CAD5C}"/>
              </a:ext>
            </a:extLst>
          </p:cNvPr>
          <p:cNvSpPr txBox="1"/>
          <p:nvPr/>
        </p:nvSpPr>
        <p:spPr>
          <a:xfrm>
            <a:off x="0" y="1474075"/>
            <a:ext cx="208893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Key responsibilities for developers</a:t>
            </a:r>
          </a:p>
          <a:p>
            <a:pPr marL="342900" indent="-342900">
              <a:buAutoNum type="arabicPeriod"/>
            </a:pPr>
            <a:r>
              <a:rPr lang="en-US" sz="1400"/>
              <a:t>Code Management</a:t>
            </a:r>
          </a:p>
          <a:p>
            <a:pPr marL="342900" indent="-342900">
              <a:buAutoNum type="arabicPeriod"/>
            </a:pPr>
            <a:r>
              <a:rPr lang="en-US" sz="1400"/>
              <a:t>Program Quality</a:t>
            </a:r>
          </a:p>
          <a:p>
            <a:pPr marL="342900" indent="-342900">
              <a:buAutoNum type="arabicPeriod"/>
            </a:pPr>
            <a:r>
              <a:rPr lang="en-US" sz="1400"/>
              <a:t>Documentation</a:t>
            </a:r>
          </a:p>
        </p:txBody>
      </p:sp>
    </p:spTree>
    <p:extLst>
      <p:ext uri="{BB962C8B-B14F-4D97-AF65-F5344CB8AC3E}">
        <p14:creationId xmlns:p14="http://schemas.microsoft.com/office/powerpoint/2010/main" val="5627187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BF5F71-2306-4454-9632-95F8D520C1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C88D44-5763-404D-A938-868929257A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7A21EA-D699-41D4-83FC-C24AEB15F5F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4D648F-9FEC-4514-814F-2C0BEF6493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788DEC-9D9E-4AE9-BD5B-23D732192D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16DA50-2FDE-4B22-A09A-72E7BCF044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733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71F027-FBFE-4301-9BDC-4E9C2200F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2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DBDA9F-FDED-4438-A6F7-F5C806A24F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27DC81-965F-41E3-ADA6-78F2A992A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09A8F88-BB52-4E5F-B247-D8A7E0245D1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5BCAAEC1-37A3-408F-8E92-D1D8EDB219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0660EC-DD8E-488D-BA3D-FE37FAF79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3142882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38779E-887F-4E6C-A960-1A93E6C11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z="500" smtClean="0"/>
              <a:pPr/>
              <a:t>3</a:t>
            </a:fld>
            <a:endParaRPr lang="it-IT" sz="5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A91F9-FCB7-4743-8350-DE8C8243C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500"/>
              <a:t>8 April 2020</a:t>
            </a:r>
            <a:endParaRPr lang="it-IT" sz="5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C62C84-1193-4ADB-8A85-1D89F2FE9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sz="500"/>
              <a:t>Mav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8152BC-43A6-4818-8311-0A33454E62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US" sz="30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7903B0A-C96B-41D0-8272-1E599D44A9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1200"/>
              <a:t>Adolphus Minu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390F593-5623-4A34-A97D-B347E3602C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1600"/>
              <a:t>Who am I?</a:t>
            </a:r>
          </a:p>
        </p:txBody>
      </p:sp>
      <p:graphicFrame>
        <p:nvGraphicFramePr>
          <p:cNvPr id="33" name="Content Placeholder 6">
            <a:extLst>
              <a:ext uri="{FF2B5EF4-FFF2-40B4-BE49-F238E27FC236}">
                <a16:creationId xmlns:a16="http://schemas.microsoft.com/office/drawing/2014/main" id="{E526AD05-1656-4BF0-A669-AC12BB098D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8320666"/>
              </p:ext>
            </p:extLst>
          </p:nvPr>
        </p:nvGraphicFramePr>
        <p:xfrm>
          <a:off x="460235" y="1200369"/>
          <a:ext cx="8223531" cy="3393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4" name="Picture 2" descr="Image result for australia flag">
            <a:extLst>
              <a:ext uri="{FF2B5EF4-FFF2-40B4-BE49-F238E27FC236}">
                <a16:creationId xmlns:a16="http://schemas.microsoft.com/office/drawing/2014/main" id="{1C6C37FC-B700-435E-84CB-8186A33FF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9582" y="2348420"/>
            <a:ext cx="308860" cy="154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6" descr="Image result for HKflag">
            <a:extLst>
              <a:ext uri="{FF2B5EF4-FFF2-40B4-BE49-F238E27FC236}">
                <a16:creationId xmlns:a16="http://schemas.microsoft.com/office/drawing/2014/main" id="{D3F500BC-93EA-4872-A50D-55C31E09EF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0502" y="2297149"/>
            <a:ext cx="261027" cy="173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Image result for telstra australia">
            <a:extLst>
              <a:ext uri="{FF2B5EF4-FFF2-40B4-BE49-F238E27FC236}">
                <a16:creationId xmlns:a16="http://schemas.microsoft.com/office/drawing/2014/main" id="{FB5D70F7-9A87-4934-BA96-D48BBCD48A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2566" y="2299485"/>
            <a:ext cx="644840" cy="158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AutoShape 10" descr="Image result for ibm logo">
            <a:extLst>
              <a:ext uri="{FF2B5EF4-FFF2-40B4-BE49-F238E27FC236}">
                <a16:creationId xmlns:a16="http://schemas.microsoft.com/office/drawing/2014/main" id="{86051366-957A-4C82-B192-515884307A6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57742" y="2457492"/>
            <a:ext cx="228517" cy="228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55" tIns="34278" rIns="68555" bIns="34278" numCol="1" anchor="t" anchorCtr="0" compatLnSpc="1">
            <a:prstTxWarp prst="textNoShape">
              <a:avLst/>
            </a:prstTxWarp>
          </a:bodyPr>
          <a:lstStyle/>
          <a:p>
            <a:endParaRPr lang="en-US" sz="1100"/>
          </a:p>
        </p:txBody>
      </p:sp>
      <p:pic>
        <p:nvPicPr>
          <p:cNvPr id="38" name="Picture 12" descr="Related image">
            <a:extLst>
              <a:ext uri="{FF2B5EF4-FFF2-40B4-BE49-F238E27FC236}">
                <a16:creationId xmlns:a16="http://schemas.microsoft.com/office/drawing/2014/main" id="{0F1F67EE-56D7-498B-A960-4124A18238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52" r="15041"/>
          <a:stretch/>
        </p:blipFill>
        <p:spPr bwMode="auto">
          <a:xfrm>
            <a:off x="2968175" y="2236725"/>
            <a:ext cx="415309" cy="173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 descr="A drawing of a face&#10;&#10;Description automatically generated">
            <a:extLst>
              <a:ext uri="{FF2B5EF4-FFF2-40B4-BE49-F238E27FC236}">
                <a16:creationId xmlns:a16="http://schemas.microsoft.com/office/drawing/2014/main" id="{2046BFD1-9BF7-4B31-BC4E-D350FD5996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171" y="2928885"/>
            <a:ext cx="598386" cy="225479"/>
          </a:xfrm>
          <a:prstGeom prst="rect">
            <a:avLst/>
          </a:prstGeom>
        </p:spPr>
      </p:pic>
      <p:pic>
        <p:nvPicPr>
          <p:cNvPr id="40" name="Acc_Interactive_Lockup_BLK_Colour Positive">
            <a:extLst>
              <a:ext uri="{FF2B5EF4-FFF2-40B4-BE49-F238E27FC236}">
                <a16:creationId xmlns:a16="http://schemas.microsoft.com/office/drawing/2014/main" id="{BC249CA1-571D-4AD9-A354-16EFA0640EF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23242" y="2928885"/>
            <a:ext cx="1265838" cy="103598"/>
          </a:xfrm>
          <a:prstGeom prst="rect">
            <a:avLst/>
          </a:prstGeom>
        </p:spPr>
      </p:pic>
      <p:pic>
        <p:nvPicPr>
          <p:cNvPr id="41" name="Picture 3">
            <a:extLst>
              <a:ext uri="{FF2B5EF4-FFF2-40B4-BE49-F238E27FC236}">
                <a16:creationId xmlns:a16="http://schemas.microsoft.com/office/drawing/2014/main" id="{040122F8-2352-4F42-9421-C4729000DE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259" y="1663461"/>
            <a:ext cx="417895" cy="378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4793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17364224" presetClass="entr" presetSubtype="769686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38779E-887F-4E6C-A960-1A93E6C11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4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A91F9-FCB7-4743-8350-DE8C8243C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C62C84-1193-4ADB-8A85-1D89F2FE9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8152BC-43A6-4818-8311-0A33454E62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7903B0A-C96B-41D0-8272-1E599D44A9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Jeffrey Kwok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390F593-5623-4A34-A97D-B347E3602C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ho am I?</a:t>
            </a:r>
          </a:p>
        </p:txBody>
      </p:sp>
      <p:graphicFrame>
        <p:nvGraphicFramePr>
          <p:cNvPr id="10" name="Content Placeholder 6">
            <a:extLst>
              <a:ext uri="{FF2B5EF4-FFF2-40B4-BE49-F238E27FC236}">
                <a16:creationId xmlns:a16="http://schemas.microsoft.com/office/drawing/2014/main" id="{C25FA767-4AA1-47DA-BBEF-8E879F4B99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2667576"/>
              </p:ext>
            </p:extLst>
          </p:nvPr>
        </p:nvGraphicFramePr>
        <p:xfrm>
          <a:off x="460235" y="1200369"/>
          <a:ext cx="8223531" cy="3393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AutoShape 10" descr="Image result for ibm logo">
            <a:extLst>
              <a:ext uri="{FF2B5EF4-FFF2-40B4-BE49-F238E27FC236}">
                <a16:creationId xmlns:a16="http://schemas.microsoft.com/office/drawing/2014/main" id="{42E04386-BD00-4D39-8868-DDDB65F5465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57742" y="2457492"/>
            <a:ext cx="228517" cy="228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55" tIns="34278" rIns="68555" bIns="34278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pic>
        <p:nvPicPr>
          <p:cNvPr id="16" name="Picture 15" descr="A drawing of a face&#10;&#10;Description automatically generated">
            <a:extLst>
              <a:ext uri="{FF2B5EF4-FFF2-40B4-BE49-F238E27FC236}">
                <a16:creationId xmlns:a16="http://schemas.microsoft.com/office/drawing/2014/main" id="{C293EF32-A614-4DAC-B488-83AB1066A5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321" y="2191004"/>
            <a:ext cx="598386" cy="225479"/>
          </a:xfrm>
          <a:prstGeom prst="rect">
            <a:avLst/>
          </a:prstGeom>
        </p:spPr>
      </p:pic>
      <p:pic>
        <p:nvPicPr>
          <p:cNvPr id="17" name="Acc_Interactive_Lockup_BLK_Colour Positive">
            <a:extLst>
              <a:ext uri="{FF2B5EF4-FFF2-40B4-BE49-F238E27FC236}">
                <a16:creationId xmlns:a16="http://schemas.microsoft.com/office/drawing/2014/main" id="{BD4DAE02-6E26-43D6-8BFF-DDDA5BC291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6642" y="3088079"/>
            <a:ext cx="1265838" cy="103598"/>
          </a:xfrm>
          <a:prstGeom prst="rect">
            <a:avLst/>
          </a:prstGeom>
        </p:spPr>
      </p:pic>
      <p:pic>
        <p:nvPicPr>
          <p:cNvPr id="18" name="Picture 3">
            <a:extLst>
              <a:ext uri="{FF2B5EF4-FFF2-40B4-BE49-F238E27FC236}">
                <a16:creationId xmlns:a16="http://schemas.microsoft.com/office/drawing/2014/main" id="{D7A911B2-F5BF-4A04-81C6-1F20287385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259" y="1639504"/>
            <a:ext cx="417895" cy="378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CE270C22-C17E-43DC-899B-1E8E060C44BA}"/>
              </a:ext>
            </a:extLst>
          </p:cNvPr>
          <p:cNvSpPr/>
          <p:nvPr/>
        </p:nvSpPr>
        <p:spPr>
          <a:xfrm>
            <a:off x="6773353" y="2416483"/>
            <a:ext cx="17068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400">
              <a:defRPr sz="1000" b="0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ccenture acquired </a:t>
            </a:r>
          </a:p>
          <a:p>
            <a:pPr lvl="0" algn="ctr" defTabSz="914400">
              <a:defRPr sz="1000" b="0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err="1"/>
              <a:t>Pacificlink</a:t>
            </a:r>
            <a:r>
              <a:rPr lang="en-US"/>
              <a:t> and DMA</a:t>
            </a:r>
          </a:p>
          <a:p>
            <a:pPr lvl="0" algn="ctr" defTabSz="914400">
              <a:defRPr sz="1000" b="0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lvl="0" algn="ctr" defTabSz="914400">
              <a:defRPr sz="1000" b="0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Joined Accenture </a:t>
            </a:r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DCC6418-03A5-4881-9B37-3DE1BC7F45F0}"/>
              </a:ext>
            </a:extLst>
          </p:cNvPr>
          <p:cNvSpPr/>
          <p:nvPr/>
        </p:nvSpPr>
        <p:spPr>
          <a:xfrm>
            <a:off x="7715250" y="1581330"/>
            <a:ext cx="11734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000" b="0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ccenture </a:t>
            </a:r>
          </a:p>
          <a:p>
            <a:pPr algn="ctr">
              <a:defRPr sz="1000" b="0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olution Architect </a:t>
            </a:r>
          </a:p>
          <a:p>
            <a:pPr algn="ctr">
              <a:defRPr sz="1000" b="0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endParaRPr lang="en-US"/>
          </a:p>
          <a:p>
            <a:pPr algn="ctr">
              <a:defRPr sz="1000" b="0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ertified DSD</a:t>
            </a:r>
          </a:p>
        </p:txBody>
      </p:sp>
    </p:spTree>
    <p:extLst>
      <p:ext uri="{BB962C8B-B14F-4D97-AF65-F5344CB8AC3E}">
        <p14:creationId xmlns:p14="http://schemas.microsoft.com/office/powerpoint/2010/main" val="3698415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17364224" presetClass="entr" presetSubtype="769686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95E6424-4767-4D3D-97F6-4B7B8993C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5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7359E5-A8DD-44A6-BB25-995F42B70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0C77E1-1554-41E8-845A-8E5137541B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07460B-0091-4165-AFE4-6C69C26712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667" y="1034027"/>
            <a:ext cx="8391525" cy="3283744"/>
          </a:xfrm>
        </p:spPr>
        <p:txBody>
          <a:bodyPr/>
          <a:lstStyle/>
          <a:p>
            <a:r>
              <a:rPr lang="en-US"/>
              <a:t>Let’s go through the group alphabetically (</a:t>
            </a:r>
            <a:r>
              <a:rPr lang="en-US" err="1"/>
              <a:t>lastname,A..Z</a:t>
            </a:r>
            <a:r>
              <a:rPr lang="en-US"/>
              <a:t>)</a:t>
            </a:r>
          </a:p>
          <a:p>
            <a:r>
              <a:rPr lang="en-US"/>
              <a:t>You can introduce yourself in audio or in chat box</a:t>
            </a:r>
          </a:p>
          <a:p>
            <a:r>
              <a:rPr lang="en-US"/>
              <a:t>4 simple questions </a:t>
            </a:r>
          </a:p>
          <a:p>
            <a:pPr marL="171450" lvl="4" indent="-171450" algn="ctr"/>
            <a:r>
              <a:rPr lang="en-US" sz="1800"/>
              <a:t>Your roles and responsibilities in Generali</a:t>
            </a:r>
          </a:p>
          <a:p>
            <a:pPr lvl="4" indent="0" algn="ctr">
              <a:buNone/>
            </a:pPr>
            <a:r>
              <a:rPr lang="en-US" sz="800" i="1"/>
              <a:t>E.g. I am the Java developer responsible for maintaining the Policy &amp; Admin System  </a:t>
            </a:r>
            <a:r>
              <a:rPr lang="en-US" sz="1800"/>
              <a:t> </a:t>
            </a:r>
          </a:p>
          <a:p>
            <a:pPr lvl="4" indent="0" algn="ctr">
              <a:buNone/>
            </a:pPr>
            <a:endParaRPr lang="en-US" sz="1800"/>
          </a:p>
          <a:p>
            <a:pPr marL="171450" lvl="4" indent="-171450" algn="ctr"/>
            <a:r>
              <a:rPr lang="en-US" sz="1800"/>
              <a:t>What is your programming experience ?</a:t>
            </a:r>
          </a:p>
          <a:p>
            <a:pPr lvl="4" indent="0" algn="ctr">
              <a:buNone/>
            </a:pPr>
            <a:r>
              <a:rPr lang="en-US" sz="800" i="1"/>
              <a:t>E.g. I have 5 years of Java J2EE programming experience.  I also am familiar with SQL programming in MS and Oracle DB</a:t>
            </a:r>
          </a:p>
          <a:p>
            <a:pPr lvl="4" indent="0" algn="ctr">
              <a:buNone/>
            </a:pPr>
            <a:endParaRPr lang="en-US" sz="800" i="1"/>
          </a:p>
          <a:p>
            <a:pPr lvl="4" indent="0" algn="ctr">
              <a:buNone/>
            </a:pPr>
            <a:r>
              <a:rPr lang="en-US" sz="800" i="1"/>
              <a:t>  </a:t>
            </a:r>
            <a:endParaRPr lang="en-US" sz="800"/>
          </a:p>
          <a:p>
            <a:pPr marL="171450" lvl="4" indent="-171450" algn="ctr"/>
            <a:r>
              <a:rPr lang="en-US" sz="1800"/>
              <a:t>What do you want to learn ? </a:t>
            </a:r>
          </a:p>
          <a:p>
            <a:pPr lvl="4" indent="0" algn="ctr">
              <a:buNone/>
            </a:pPr>
            <a:r>
              <a:rPr lang="en-US" sz="800" i="1"/>
              <a:t>E.g. I want to learn the latest NoSQL database programming for enterprise system </a:t>
            </a:r>
          </a:p>
          <a:p>
            <a:pPr lvl="4" indent="0" algn="ctr">
              <a:buNone/>
            </a:pPr>
            <a:endParaRPr lang="en-US" sz="1800"/>
          </a:p>
          <a:p>
            <a:pPr marL="171450" lvl="4" indent="-171450" algn="ctr"/>
            <a:r>
              <a:rPr lang="en-US" sz="1800"/>
              <a:t>How well do you know online meeting tool (WebEx or Zoom or Teams) </a:t>
            </a:r>
          </a:p>
          <a:p>
            <a:pPr lvl="4" indent="0" algn="ctr">
              <a:buNone/>
            </a:pPr>
            <a:r>
              <a:rPr lang="en-US" sz="800" i="1"/>
              <a:t>Pls rate 0 (no experience) to 5 (master level) ? </a:t>
            </a:r>
          </a:p>
          <a:p>
            <a:pPr lvl="4" indent="0" algn="ctr">
              <a:buNone/>
            </a:pPr>
            <a:endParaRPr lang="en-US" sz="1050" i="1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24F861-6AC8-4389-85C6-3BA26D6E6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60D65CE5-0260-4114-837B-45BE5F37D6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9667" y="644323"/>
            <a:ext cx="8386686" cy="290338"/>
          </a:xfrm>
        </p:spPr>
        <p:txBody>
          <a:bodyPr/>
          <a:lstStyle/>
          <a:p>
            <a:r>
              <a:rPr lang="en-US"/>
              <a:t>Let’s get to know each other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E2ABAB2-BCD2-4F0B-ACD7-0C5B62852C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rainee Introduction…. </a:t>
            </a:r>
          </a:p>
        </p:txBody>
      </p:sp>
    </p:spTree>
    <p:extLst>
      <p:ext uri="{BB962C8B-B14F-4D97-AF65-F5344CB8AC3E}">
        <p14:creationId xmlns:p14="http://schemas.microsoft.com/office/powerpoint/2010/main" val="28447636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DF4ED-D997-471E-8A4D-9F06E5598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6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016F4F-A705-4FD9-8BE2-0308628FF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D43AFE-27A4-441D-94E2-923163D55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AA6BAB8-26FA-44CB-9418-D8BA4BEE5E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80C0E423-4513-4640-8649-93839C0162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300" y="932063"/>
            <a:ext cx="8386686" cy="290338"/>
          </a:xfrm>
        </p:spPr>
        <p:txBody>
          <a:bodyPr/>
          <a:lstStyle/>
          <a:p>
            <a:r>
              <a:rPr lang="en-US"/>
              <a:t>Development Team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CC1388B-C21E-4DFE-98EC-BBDF24CD49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6EA4AB1-D48A-4D67-9B73-930D8944ECE8}"/>
              </a:ext>
            </a:extLst>
          </p:cNvPr>
          <p:cNvSpPr txBox="1">
            <a:spLocks/>
          </p:cNvSpPr>
          <p:nvPr/>
        </p:nvSpPr>
        <p:spPr>
          <a:xfrm>
            <a:off x="347300" y="1262063"/>
            <a:ext cx="8391525" cy="32837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Char char="v"/>
              <a:defRPr sz="2000" b="1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800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0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-1800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-1800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-1800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024EC96-A372-4031-A933-A1D71D615D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948769"/>
              </p:ext>
            </p:extLst>
          </p:nvPr>
        </p:nvGraphicFramePr>
        <p:xfrm>
          <a:off x="347300" y="1222401"/>
          <a:ext cx="6683420" cy="1097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9076">
                  <a:extLst>
                    <a:ext uri="{9D8B030D-6E8A-4147-A177-3AD203B41FA5}">
                      <a16:colId xmlns:a16="http://schemas.microsoft.com/office/drawing/2014/main" val="1993269946"/>
                    </a:ext>
                  </a:extLst>
                </a:gridCol>
                <a:gridCol w="1931383">
                  <a:extLst>
                    <a:ext uri="{9D8B030D-6E8A-4147-A177-3AD203B41FA5}">
                      <a16:colId xmlns:a16="http://schemas.microsoft.com/office/drawing/2014/main" val="963153087"/>
                    </a:ext>
                  </a:extLst>
                </a:gridCol>
                <a:gridCol w="1722961">
                  <a:extLst>
                    <a:ext uri="{9D8B030D-6E8A-4147-A177-3AD203B41FA5}">
                      <a16:colId xmlns:a16="http://schemas.microsoft.com/office/drawing/2014/main" val="3251696145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Nam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mai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emark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13295809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Kanokporn Ritthiyong (IT -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kanokpornr@generali.co.t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Developer (Java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243726484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hiphat Saengsant (IT -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hiphats@generali.co.t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Key Developer (Java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80543610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rasit Uantrai (IT -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rasitU@generali.co.t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Key Developer (.NET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16828369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omjet Thanaphakawat (IT -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omjett@generali.co.t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Key Developer (Java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32313297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Yaowaluk Kaewkitipong (IT -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yaowalukk@generali.co.t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Key Developer (Java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555244922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F98BA36F-3908-4310-BF24-A94F3DC3C5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4199858"/>
              </p:ext>
            </p:extLst>
          </p:nvPr>
        </p:nvGraphicFramePr>
        <p:xfrm>
          <a:off x="922020" y="2935835"/>
          <a:ext cx="6108700" cy="20345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68600">
                  <a:extLst>
                    <a:ext uri="{9D8B030D-6E8A-4147-A177-3AD203B41FA5}">
                      <a16:colId xmlns:a16="http://schemas.microsoft.com/office/drawing/2014/main" val="2067737915"/>
                    </a:ext>
                  </a:extLst>
                </a:gridCol>
                <a:gridCol w="1765300">
                  <a:extLst>
                    <a:ext uri="{9D8B030D-6E8A-4147-A177-3AD203B41FA5}">
                      <a16:colId xmlns:a16="http://schemas.microsoft.com/office/drawing/2014/main" val="1062278365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val="3548646747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hayanon Wisantanon (Guest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emp-bpo02@generali.co.t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nly for API testing class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68684686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honita Wonglertwatig (BPO - BA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honitaw@generali.co.t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nly for API testing class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127074772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Doungkamol Kruasena (Test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DoungkamolK@generali.co.t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nly for API testing class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404087103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rakasit Matrangkul (Guest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ommanatw@generali.co.t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nly for API testing class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175334007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ulawat Thongchanda (Test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ulawatT@generali.co.t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nly for API testing class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293391169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ommanat Wongchaichana (Guest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ommanatw@generali.co.t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nly for API testing class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996069972"/>
                  </a:ext>
                </a:extLst>
              </a:tr>
            </a:tbl>
          </a:graphicData>
        </a:graphic>
      </p:graphicFrame>
      <p:sp>
        <p:nvSpPr>
          <p:cNvPr id="14" name="Subtitle 6">
            <a:extLst>
              <a:ext uri="{FF2B5EF4-FFF2-40B4-BE49-F238E27FC236}">
                <a16:creationId xmlns:a16="http://schemas.microsoft.com/office/drawing/2014/main" id="{0C2A192E-D113-44D7-9725-40810DF6540A}"/>
              </a:ext>
            </a:extLst>
          </p:cNvPr>
          <p:cNvSpPr txBox="1">
            <a:spLocks/>
          </p:cNvSpPr>
          <p:nvPr/>
        </p:nvSpPr>
        <p:spPr>
          <a:xfrm>
            <a:off x="365816" y="2386796"/>
            <a:ext cx="8386686" cy="290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5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Lucida Grande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erested in API Testing </a:t>
            </a:r>
          </a:p>
        </p:txBody>
      </p:sp>
    </p:spTree>
    <p:extLst>
      <p:ext uri="{BB962C8B-B14F-4D97-AF65-F5344CB8AC3E}">
        <p14:creationId xmlns:p14="http://schemas.microsoft.com/office/powerpoint/2010/main" val="17725649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4DF4ED-D997-471E-8A4D-9F06E5598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7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016F4F-A705-4FD9-8BE2-0308628FF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D43AFE-27A4-441D-94E2-923163D55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AA6BAB8-26FA-44CB-9418-D8BA4BEE5E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80C0E423-4513-4640-8649-93839C0162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7300" y="1005440"/>
            <a:ext cx="8386686" cy="290338"/>
          </a:xfrm>
        </p:spPr>
        <p:txBody>
          <a:bodyPr/>
          <a:lstStyle/>
          <a:p>
            <a:r>
              <a:rPr lang="en-US"/>
              <a:t>Development Team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CC1388B-C21E-4DFE-98EC-BBDF24CD49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elcome to our student trainee  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024EC96-A372-4031-A933-A1D71D615D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0476455"/>
              </p:ext>
            </p:extLst>
          </p:nvPr>
        </p:nvGraphicFramePr>
        <p:xfrm>
          <a:off x="347300" y="1222401"/>
          <a:ext cx="2836575" cy="914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36575">
                  <a:extLst>
                    <a:ext uri="{9D8B030D-6E8A-4147-A177-3AD203B41FA5}">
                      <a16:colId xmlns:a16="http://schemas.microsoft.com/office/drawing/2014/main" val="1993269946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err="1">
                          <a:effectLst/>
                        </a:rPr>
                        <a:t>Kanokporn</a:t>
                      </a:r>
                      <a:r>
                        <a:rPr lang="en-US" sz="1100" u="none" strike="noStrike">
                          <a:effectLst/>
                        </a:rPr>
                        <a:t> </a:t>
                      </a:r>
                      <a:r>
                        <a:rPr lang="en-US" sz="1100" u="none" strike="noStrike" err="1">
                          <a:effectLst/>
                        </a:rPr>
                        <a:t>Ritthiyong</a:t>
                      </a:r>
                      <a:r>
                        <a:rPr lang="en-US" sz="1100" u="none" strike="noStrike">
                          <a:effectLst/>
                        </a:rPr>
                        <a:t> (IT -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243726484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hiphat Saengsant (IT -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80543610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rasit Uantrai (IT -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16828369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omjet Thanaphakawat (IT -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32313297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err="1">
                          <a:effectLst/>
                        </a:rPr>
                        <a:t>Yaowaluk</a:t>
                      </a:r>
                      <a:r>
                        <a:rPr lang="en-US" sz="1100" u="none" strike="noStrike">
                          <a:effectLst/>
                        </a:rPr>
                        <a:t> </a:t>
                      </a:r>
                      <a:r>
                        <a:rPr lang="en-US" sz="1100" u="none" strike="noStrike" err="1">
                          <a:effectLst/>
                        </a:rPr>
                        <a:t>Kaewkitipong</a:t>
                      </a:r>
                      <a:r>
                        <a:rPr lang="en-US" sz="1100" u="none" strike="noStrike">
                          <a:effectLst/>
                        </a:rPr>
                        <a:t> (IT -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555244922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F98BA36F-3908-4310-BF24-A94F3DC3C5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0398810"/>
              </p:ext>
            </p:extLst>
          </p:nvPr>
        </p:nvGraphicFramePr>
        <p:xfrm>
          <a:off x="347300" y="3149678"/>
          <a:ext cx="2862281" cy="548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62281">
                  <a:extLst>
                    <a:ext uri="{9D8B030D-6E8A-4147-A177-3AD203B41FA5}">
                      <a16:colId xmlns:a16="http://schemas.microsoft.com/office/drawing/2014/main" val="2067737915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err="1">
                          <a:effectLst/>
                        </a:rPr>
                        <a:t>Chonita</a:t>
                      </a:r>
                      <a:r>
                        <a:rPr lang="en-US" sz="1100" u="none" strike="noStrike">
                          <a:effectLst/>
                        </a:rPr>
                        <a:t> </a:t>
                      </a:r>
                      <a:r>
                        <a:rPr lang="en-US" sz="1100" u="none" strike="noStrike" err="1">
                          <a:effectLst/>
                        </a:rPr>
                        <a:t>Wonglertwatig</a:t>
                      </a:r>
                      <a:r>
                        <a:rPr lang="en-US" sz="1100" u="none" strike="noStrike">
                          <a:effectLst/>
                        </a:rPr>
                        <a:t> (BPO - BA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127074772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err="1">
                          <a:effectLst/>
                        </a:rPr>
                        <a:t>Prakasit</a:t>
                      </a:r>
                      <a:r>
                        <a:rPr lang="en-US" sz="1100" u="none" strike="noStrike">
                          <a:effectLst/>
                        </a:rPr>
                        <a:t> </a:t>
                      </a:r>
                      <a:r>
                        <a:rPr lang="en-US" sz="1100" u="none" strike="noStrike" err="1">
                          <a:effectLst/>
                        </a:rPr>
                        <a:t>Matrangkul</a:t>
                      </a:r>
                      <a:r>
                        <a:rPr lang="en-US" sz="1100" u="none" strike="noStrike">
                          <a:effectLst/>
                        </a:rPr>
                        <a:t> (Guest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175334007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err="1">
                          <a:effectLst/>
                        </a:rPr>
                        <a:t>Sommanat</a:t>
                      </a:r>
                      <a:r>
                        <a:rPr lang="en-US" sz="1100" u="none" strike="noStrike">
                          <a:effectLst/>
                        </a:rPr>
                        <a:t> </a:t>
                      </a:r>
                      <a:r>
                        <a:rPr lang="en-US" sz="1100" u="none" strike="noStrike" err="1">
                          <a:effectLst/>
                        </a:rPr>
                        <a:t>Wongchaichana</a:t>
                      </a:r>
                      <a:r>
                        <a:rPr lang="en-US" sz="1100" u="none" strike="noStrike">
                          <a:effectLst/>
                        </a:rPr>
                        <a:t> (Guest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996069972"/>
                  </a:ext>
                </a:extLst>
              </a:tr>
            </a:tbl>
          </a:graphicData>
        </a:graphic>
      </p:graphicFrame>
      <p:sp>
        <p:nvSpPr>
          <p:cNvPr id="14" name="Subtitle 6">
            <a:extLst>
              <a:ext uri="{FF2B5EF4-FFF2-40B4-BE49-F238E27FC236}">
                <a16:creationId xmlns:a16="http://schemas.microsoft.com/office/drawing/2014/main" id="{0C2A192E-D113-44D7-9725-40810DF6540A}"/>
              </a:ext>
            </a:extLst>
          </p:cNvPr>
          <p:cNvSpPr txBox="1">
            <a:spLocks/>
          </p:cNvSpPr>
          <p:nvPr/>
        </p:nvSpPr>
        <p:spPr>
          <a:xfrm>
            <a:off x="347300" y="2836936"/>
            <a:ext cx="8386686" cy="290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5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Lucida Grande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erested in API Testing </a:t>
            </a:r>
          </a:p>
        </p:txBody>
      </p:sp>
      <p:sp>
        <p:nvSpPr>
          <p:cNvPr id="15" name="Subtitle 6">
            <a:extLst>
              <a:ext uri="{FF2B5EF4-FFF2-40B4-BE49-F238E27FC236}">
                <a16:creationId xmlns:a16="http://schemas.microsoft.com/office/drawing/2014/main" id="{4206FC5A-99D1-4C84-B1DB-3A1ED069E7F2}"/>
              </a:ext>
            </a:extLst>
          </p:cNvPr>
          <p:cNvSpPr txBox="1">
            <a:spLocks/>
          </p:cNvSpPr>
          <p:nvPr/>
        </p:nvSpPr>
        <p:spPr>
          <a:xfrm>
            <a:off x="3707441" y="1005440"/>
            <a:ext cx="5075710" cy="290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5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Lucida Grande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Observer and Interested Party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4B27345E-6F05-4718-8EE2-E3D39C8430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2403905"/>
              </p:ext>
            </p:extLst>
          </p:nvPr>
        </p:nvGraphicFramePr>
        <p:xfrm>
          <a:off x="3722866" y="1222401"/>
          <a:ext cx="3608301" cy="548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08301">
                  <a:extLst>
                    <a:ext uri="{9D8B030D-6E8A-4147-A177-3AD203B41FA5}">
                      <a16:colId xmlns:a16="http://schemas.microsoft.com/office/drawing/2014/main" val="2537413325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err="1">
                          <a:effectLst/>
                        </a:rPr>
                        <a:t>Phanuwat</a:t>
                      </a:r>
                      <a:r>
                        <a:rPr lang="en-US" sz="1100" u="none" strike="noStrike">
                          <a:effectLst/>
                        </a:rPr>
                        <a:t> </a:t>
                      </a:r>
                      <a:r>
                        <a:rPr lang="en-US" sz="1100" u="none" strike="noStrike" err="1">
                          <a:effectLst/>
                        </a:rPr>
                        <a:t>Pattamanakul</a:t>
                      </a:r>
                      <a:r>
                        <a:rPr lang="en-US" sz="1100" u="none" strike="noStrike">
                          <a:effectLst/>
                        </a:rPr>
                        <a:t> (IT -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13227031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hida Techaphalangrak (IT - Head of Developer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139657325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hongchai Sukosi (IT - PM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3059201272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1AC77E9-7DCE-4A51-836C-A2A8F1CD26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179634"/>
              </p:ext>
            </p:extLst>
          </p:nvPr>
        </p:nvGraphicFramePr>
        <p:xfrm>
          <a:off x="3720967" y="3039865"/>
          <a:ext cx="3562184" cy="746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62184">
                  <a:extLst>
                    <a:ext uri="{9D8B030D-6E8A-4147-A177-3AD203B41FA5}">
                      <a16:colId xmlns:a16="http://schemas.microsoft.com/office/drawing/2014/main" val="1048367645"/>
                    </a:ext>
                  </a:extLst>
                </a:gridCol>
              </a:tblGrid>
              <a:tr h="1866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err="1">
                          <a:effectLst/>
                        </a:rPr>
                        <a:t>Pichit</a:t>
                      </a:r>
                      <a:r>
                        <a:rPr lang="en-US" sz="1100" u="none" strike="noStrike">
                          <a:effectLst/>
                        </a:rPr>
                        <a:t> </a:t>
                      </a:r>
                      <a:r>
                        <a:rPr lang="en-US" sz="1100" u="none" strike="noStrike" err="1">
                          <a:effectLst/>
                        </a:rPr>
                        <a:t>Boonuppathu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3810" marR="3810" marT="3810" marB="0" anchor="ctr"/>
                </a:tc>
                <a:extLst>
                  <a:ext uri="{0D108BD9-81ED-4DB2-BD59-A6C34878D82A}">
                    <a16:rowId xmlns:a16="http://schemas.microsoft.com/office/drawing/2014/main" val="3059010914"/>
                  </a:ext>
                </a:extLst>
              </a:tr>
              <a:tr h="1866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err="1">
                          <a:effectLst/>
                        </a:rPr>
                        <a:t>Siwawes</a:t>
                      </a:r>
                      <a:r>
                        <a:rPr lang="en-US" sz="1100" u="none" strike="noStrike">
                          <a:effectLst/>
                        </a:rPr>
                        <a:t> </a:t>
                      </a:r>
                      <a:r>
                        <a:rPr lang="en-US" sz="1100" u="none" strike="noStrike" err="1">
                          <a:effectLst/>
                        </a:rPr>
                        <a:t>Wongcharoe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3810" marR="3810" marT="3810" marB="0" anchor="ctr"/>
                </a:tc>
                <a:extLst>
                  <a:ext uri="{0D108BD9-81ED-4DB2-BD59-A6C34878D82A}">
                    <a16:rowId xmlns:a16="http://schemas.microsoft.com/office/drawing/2014/main" val="2139619145"/>
                  </a:ext>
                </a:extLst>
              </a:tr>
              <a:tr h="1866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ukase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3810" marR="3810" marT="3810" marB="0" anchor="ctr"/>
                </a:tc>
                <a:extLst>
                  <a:ext uri="{0D108BD9-81ED-4DB2-BD59-A6C34878D82A}">
                    <a16:rowId xmlns:a16="http://schemas.microsoft.com/office/drawing/2014/main" val="912888490"/>
                  </a:ext>
                </a:extLst>
              </a:tr>
              <a:tr h="1866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err="1">
                          <a:effectLst/>
                        </a:rPr>
                        <a:t>Witsarut</a:t>
                      </a:r>
                      <a:r>
                        <a:rPr lang="en-US" sz="1100" u="none" strike="noStrike">
                          <a:effectLst/>
                        </a:rPr>
                        <a:t>  </a:t>
                      </a:r>
                      <a:r>
                        <a:rPr lang="en-US" sz="1100" u="none" strike="noStrike" err="1">
                          <a:effectLst/>
                        </a:rPr>
                        <a:t>Hannapachewi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3810" marR="3810" marT="3810" marB="0" anchor="ctr"/>
                </a:tc>
                <a:extLst>
                  <a:ext uri="{0D108BD9-81ED-4DB2-BD59-A6C34878D82A}">
                    <a16:rowId xmlns:a16="http://schemas.microsoft.com/office/drawing/2014/main" val="3117409573"/>
                  </a:ext>
                </a:extLst>
              </a:tr>
            </a:tbl>
          </a:graphicData>
        </a:graphic>
      </p:graphicFrame>
      <p:sp>
        <p:nvSpPr>
          <p:cNvPr id="18" name="Subtitle 6">
            <a:extLst>
              <a:ext uri="{FF2B5EF4-FFF2-40B4-BE49-F238E27FC236}">
                <a16:creationId xmlns:a16="http://schemas.microsoft.com/office/drawing/2014/main" id="{D595FE84-A475-489B-A8DC-AF66ABBE7745}"/>
              </a:ext>
            </a:extLst>
          </p:cNvPr>
          <p:cNvSpPr txBox="1">
            <a:spLocks/>
          </p:cNvSpPr>
          <p:nvPr/>
        </p:nvSpPr>
        <p:spPr>
          <a:xfrm>
            <a:off x="3707441" y="2749527"/>
            <a:ext cx="5075710" cy="290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5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Lucida Grande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Guests</a:t>
            </a:r>
          </a:p>
        </p:txBody>
      </p:sp>
    </p:spTree>
    <p:extLst>
      <p:ext uri="{BB962C8B-B14F-4D97-AF65-F5344CB8AC3E}">
        <p14:creationId xmlns:p14="http://schemas.microsoft.com/office/powerpoint/2010/main" val="4429162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9271333-0AEC-4C60-AB35-DC2DB04E5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65A074-71B0-1C47-A455-7677837C124E}" type="slidenum">
              <a:rPr lang="it-IT" smtClean="0"/>
              <a:pPr/>
              <a:t>8</a:t>
            </a:fld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E52A0E-17A4-4E67-A494-170277E5F5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8 April 2020</a:t>
            </a:r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334C81-BE04-4143-BFFB-43C052428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Mave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2566F38-1E80-4BB8-9308-7EA6E22C28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21B94DD-6D5E-4B65-8779-BAF8EB57151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3C684A-AA2C-4627-AF01-01B9E7DF4D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ourse Logistics </a:t>
            </a:r>
          </a:p>
        </p:txBody>
      </p:sp>
    </p:spTree>
    <p:extLst>
      <p:ext uri="{BB962C8B-B14F-4D97-AF65-F5344CB8AC3E}">
        <p14:creationId xmlns:p14="http://schemas.microsoft.com/office/powerpoint/2010/main" val="407423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4_G_PPT_Template_16.9">
  <a:themeElements>
    <a:clrScheme name="Generali_colori_C">
      <a:dk1>
        <a:sysClr val="windowText" lastClr="000000"/>
      </a:dk1>
      <a:lt1>
        <a:sysClr val="window" lastClr="FFFFFF"/>
      </a:lt1>
      <a:dk2>
        <a:srgbClr val="BD2027"/>
      </a:dk2>
      <a:lt2>
        <a:srgbClr val="FEEEE6"/>
      </a:lt2>
      <a:accent1>
        <a:srgbClr val="BD2027"/>
      </a:accent1>
      <a:accent2>
        <a:srgbClr val="C25439"/>
      </a:accent2>
      <a:accent3>
        <a:srgbClr val="E9B09A"/>
      </a:accent3>
      <a:accent4>
        <a:srgbClr val="5C5D5F"/>
      </a:accent4>
      <a:accent5>
        <a:srgbClr val="CFD0D2"/>
      </a:accent5>
      <a:accent6>
        <a:srgbClr val="A1A3A4"/>
      </a:accent6>
      <a:hlink>
        <a:srgbClr val="BD2027"/>
      </a:hlink>
      <a:folHlink>
        <a:srgbClr val="C25439"/>
      </a:folHlink>
    </a:clrScheme>
    <a:fontScheme name="BE_typografia">
      <a:majorFont>
        <a:latin typeface="Arial Regular"/>
        <a:ea typeface="Arial Italic"/>
        <a:cs typeface=""/>
      </a:majorFont>
      <a:minorFont>
        <a:latin typeface="Arial Regular"/>
        <a:ea typeface="Arial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5_G_PPT_Template_16.9">
  <a:themeElements>
    <a:clrScheme name="Generali_colori_C">
      <a:dk1>
        <a:sysClr val="windowText" lastClr="000000"/>
      </a:dk1>
      <a:lt1>
        <a:sysClr val="window" lastClr="FFFFFF"/>
      </a:lt1>
      <a:dk2>
        <a:srgbClr val="BD2027"/>
      </a:dk2>
      <a:lt2>
        <a:srgbClr val="FEEEE6"/>
      </a:lt2>
      <a:accent1>
        <a:srgbClr val="BD2027"/>
      </a:accent1>
      <a:accent2>
        <a:srgbClr val="C25439"/>
      </a:accent2>
      <a:accent3>
        <a:srgbClr val="E9B09A"/>
      </a:accent3>
      <a:accent4>
        <a:srgbClr val="5C5D5F"/>
      </a:accent4>
      <a:accent5>
        <a:srgbClr val="CFD0D2"/>
      </a:accent5>
      <a:accent6>
        <a:srgbClr val="A1A3A4"/>
      </a:accent6>
      <a:hlink>
        <a:srgbClr val="BD2027"/>
      </a:hlink>
      <a:folHlink>
        <a:srgbClr val="C25439"/>
      </a:folHlink>
    </a:clrScheme>
    <a:fontScheme name="BE_typografia">
      <a:majorFont>
        <a:latin typeface="Arial Regular"/>
        <a:ea typeface="Arial Italic"/>
        <a:cs typeface=""/>
      </a:majorFont>
      <a:minorFont>
        <a:latin typeface="Arial Regular"/>
        <a:ea typeface="Arial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A00000_Cons_Engl">
  <a:themeElements>
    <a:clrScheme name="Custom 10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BEBEBE"/>
      </a:accent4>
      <a:accent5>
        <a:srgbClr val="969696"/>
      </a:accent5>
      <a:accent6>
        <a:srgbClr val="5A5A5A"/>
      </a:accent6>
      <a:hlink>
        <a:srgbClr val="7500C0"/>
      </a:hlink>
      <a:folHlink>
        <a:srgbClr val="46007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Cons_Engl_Arial.potx" id="{4871DD57-99C9-418D-8363-366CAB6A46D7}" vid="{F0D9FCE4-2943-4683-9747-39DD644BC7E7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BCF753C9CCAD4BB7002EFF7B16FFCA" ma:contentTypeVersion="5" ma:contentTypeDescription="Create a new document." ma:contentTypeScope="" ma:versionID="9e4609fd9fc7c6cc47fd41a85c852311">
  <xsd:schema xmlns:xsd="http://www.w3.org/2001/XMLSchema" xmlns:xs="http://www.w3.org/2001/XMLSchema" xmlns:p="http://schemas.microsoft.com/office/2006/metadata/properties" xmlns:ns2="ffa1a2d8-ace4-49fd-b33c-1041352ab9e4" targetNamespace="http://schemas.microsoft.com/office/2006/metadata/properties" ma:root="true" ma:fieldsID="2bdb6d7210bfab589d53b4ec6e038e43" ns2:_="">
    <xsd:import namespace="ffa1a2d8-ace4-49fd-b33c-1041352ab9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a1a2d8-ace4-49fd-b33c-1041352ab9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5F4724-A406-4CDE-9003-F243CF3156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843718-0C04-4378-B6F2-2A0316D91C4A}">
  <ds:schemaRefs>
    <ds:schemaRef ds:uri="ffa1a2d8-ace4-49fd-b33c-1041352ab9e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E183142-E3E6-44F1-A277-24628A6F68ED}">
  <ds:schemaRefs>
    <ds:schemaRef ds:uri="ffa1a2d8-ace4-49fd-b33c-1041352ab9e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4_G_PPT_Template_16.9</Template>
  <Application>Microsoft Office PowerPoint</Application>
  <PresentationFormat>On-screen Show (16:9)</PresentationFormat>
  <Slides>23</Slides>
  <Notes>3</Notes>
  <HiddenSlides>1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3</vt:i4>
      </vt:variant>
    </vt:vector>
  </HeadingPairs>
  <TitlesOfParts>
    <vt:vector size="26" baseType="lpstr">
      <vt:lpstr>04_G_PPT_Template_16.9</vt:lpstr>
      <vt:lpstr>5_G_PPT_Template_16.9</vt:lpstr>
      <vt:lpstr>CA00000_Cons_Engl</vt:lpstr>
      <vt:lpstr>API Developer Training</vt:lpstr>
      <vt:lpstr>PowerPoint Presentation</vt:lpstr>
      <vt:lpstr>PowerPoint Presentation</vt:lpstr>
      <vt:lpstr>Who am I?</vt:lpstr>
      <vt:lpstr>Who am I?</vt:lpstr>
      <vt:lpstr>Trainee Introduction…. </vt:lpstr>
      <vt:lpstr>PowerPoint Presentation</vt:lpstr>
      <vt:lpstr>Welcome to our student trainee  </vt:lpstr>
      <vt:lpstr>PowerPoint Presentation</vt:lpstr>
      <vt:lpstr>Course Logistics </vt:lpstr>
      <vt:lpstr>Course Logistics </vt:lpstr>
      <vt:lpstr>PowerPoint Presentation</vt:lpstr>
      <vt:lpstr>Course Introduction</vt:lpstr>
      <vt:lpstr>PowerPoint Presentation</vt:lpstr>
      <vt:lpstr>What is API</vt:lpstr>
      <vt:lpstr>What is API</vt:lpstr>
      <vt:lpstr>What is API</vt:lpstr>
      <vt:lpstr>What is API</vt:lpstr>
      <vt:lpstr>What is the difference between Microservice and API</vt:lpstr>
      <vt:lpstr>PowerPoint Presentation</vt:lpstr>
      <vt:lpstr>Different Delivery Model</vt:lpstr>
      <vt:lpstr>PowerPoint Presentation</vt:lpstr>
      <vt:lpstr>PowerPoint Presentation</vt:lpstr>
    </vt:vector>
  </TitlesOfParts>
  <Company>Generali Business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ven</dc:title>
  <dc:creator>Lam, Jaicee H.</dc:creator>
  <cp:keywords>Internal</cp:keywords>
  <cp:revision>1</cp:revision>
  <cp:lastPrinted>2013-10-04T10:49:32Z</cp:lastPrinted>
  <dcterms:created xsi:type="dcterms:W3CDTF">2020-03-03T07:27:50Z</dcterms:created>
  <dcterms:modified xsi:type="dcterms:W3CDTF">2020-04-20T04:2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c158b6a-e303-4db7-9694-0f9c85273112</vt:lpwstr>
  </property>
  <property fmtid="{D5CDD505-2E9C-101B-9397-08002B2CF9AE}" pid="3" name="GeneraliClassification">
    <vt:lpwstr>Internal</vt:lpwstr>
  </property>
  <property fmtid="{D5CDD505-2E9C-101B-9397-08002B2CF9AE}" pid="4" name="ContentTypeId">
    <vt:lpwstr>0x01010017BCF753C9CCAD4BB7002EFF7B16FFCA</vt:lpwstr>
  </property>
</Properties>
</file>